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tableStyles.xml" ContentType="application/vnd.openxmlformats-officedocument.presentationml.tableStyles+xml"/>
  <Override PartName="/ppt/slideLayouts/slideLayout102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1.xml" ContentType="application/vnd.openxmlformats-officedocument.theme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Layouts/slideLayout187.xml" ContentType="application/vnd.openxmlformats-officedocument.presentationml.slideLayout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76.xml" ContentType="application/vnd.openxmlformats-officedocument.presentationml.slideLayout+xml"/>
  <Default Extension="png" ContentType="image/png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ags/tag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219.xml" ContentType="application/vnd.openxmlformats-officedocument.presentationml.slideLayout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208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heme/theme15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211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200.xml" ContentType="application/vnd.openxmlformats-officedocument.presentationml.slideLayout+xml"/>
  <Override PartName="/ppt/diagrams/colors1.xml" ContentType="application/vnd.openxmlformats-officedocument.drawingml.diagramColors+xml"/>
  <Override PartName="/ppt/charts/style2.xml" ContentType="application/vnd.ms-office.chartstyl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s/slide30.xml" ContentType="application/vnd.openxmlformats-officedocument.presentationml.slide+xml"/>
  <Override PartName="/ppt/slideLayouts/slideLayout40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3.xml" ContentType="application/vnd.openxmlformats-officedocument.theme+xml"/>
  <Override PartName="/ppt/notesSlides/notesSlide9.xml" ContentType="application/vnd.openxmlformats-officedocument.presentationml.notesSlide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241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s/slide24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7.xml" ContentType="application/vnd.openxmlformats-officedocument.theme+xml"/>
  <Override PartName="/ppt/slideLayouts/slideLayout235.xml" ContentType="application/vnd.openxmlformats-officedocument.presentationml.slideLayout+xml"/>
  <Override PartName="/ppt/slideMasters/slideMaster21.xml" ContentType="application/vnd.openxmlformats-officedocument.presentationml.slideMaster+xml"/>
  <Override PartName="/ppt/slideLayouts/slideLayout224.xml" ContentType="application/vnd.openxmlformats-officedocument.presentationml.slideLayout+xml"/>
  <Default Extension="tiff" ContentType="image/tiff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20.xml" ContentType="application/vnd.openxmlformats-officedocument.them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charts/colors2.xml" ContentType="application/vnd.ms-office.chartcolorstyle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14.xml" ContentType="application/vnd.openxmlformats-officedocument.theme+xml"/>
  <Override PartName="/ppt/notesSlides/notesSlide12.xml" ContentType="application/vnd.openxmlformats-officedocument.presentationml.notesSlide+xml"/>
  <Override PartName="/ppt/slideLayouts/slideLayout232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charts/style1.xml" ContentType="application/vnd.ms-office.chartstyl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215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Default Extension="gif" ContentType="image/gif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22.xml" ContentType="application/vnd.openxmlformats-officedocument.theme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notesSlides/notesSlide14.xml" ContentType="application/vnd.openxmlformats-officedocument.presentationml.notesSlide+xml"/>
  <Override PartName="/ppt/slideLayouts/slideLayout100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style3.xml" ContentType="application/vnd.ms-office.chartstyle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diagrams/drawing1.xml" ContentType="application/vnd.ms-office.drawingml.diagramDrawing+xml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217.xml" ContentType="application/vnd.openxmlformats-officedocument.presentationml.slideLayout+xml"/>
  <Override PartName="/ppt/charts/colors1.xml" ContentType="application/vnd.ms-office.chartcolorstyle+xml"/>
  <Override PartName="/ppt/slideLayouts/slideLayout206.xml" ContentType="application/vnd.openxmlformats-officedocument.presentationml.slideLayout+xml"/>
  <Override PartName="/ppt/notesSlides/notesSlide11.xml" ContentType="application/vnd.openxmlformats-officedocument.presentationml.notesSlide+xml"/>
  <Override PartName="/ppt/theme/theme13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7" r:id="rId1"/>
    <p:sldMasterId id="2147483839" r:id="rId2"/>
    <p:sldMasterId id="2147483851" r:id="rId3"/>
    <p:sldMasterId id="2147483863" r:id="rId4"/>
    <p:sldMasterId id="2147483875" r:id="rId5"/>
    <p:sldMasterId id="2147483887" r:id="rId6"/>
    <p:sldMasterId id="2147483899" r:id="rId7"/>
    <p:sldMasterId id="2147483911" r:id="rId8"/>
    <p:sldMasterId id="2147483923" r:id="rId9"/>
    <p:sldMasterId id="2147483935" r:id="rId10"/>
    <p:sldMasterId id="2147483947" r:id="rId11"/>
    <p:sldMasterId id="2147483959" r:id="rId12"/>
    <p:sldMasterId id="2147483971" r:id="rId13"/>
    <p:sldMasterId id="2147483983" r:id="rId14"/>
    <p:sldMasterId id="2147483995" r:id="rId15"/>
    <p:sldMasterId id="2147484007" r:id="rId16"/>
    <p:sldMasterId id="2147484019" r:id="rId17"/>
    <p:sldMasterId id="2147484031" r:id="rId18"/>
    <p:sldMasterId id="2147484043" r:id="rId19"/>
    <p:sldMasterId id="2147484055" r:id="rId20"/>
    <p:sldMasterId id="2147484091" r:id="rId21"/>
    <p:sldMasterId id="2147484103" r:id="rId22"/>
  </p:sldMasterIdLst>
  <p:notesMasterIdLst>
    <p:notesMasterId r:id="rId53"/>
  </p:notesMasterIdLst>
  <p:sldIdLst>
    <p:sldId id="421" r:id="rId23"/>
    <p:sldId id="422" r:id="rId24"/>
    <p:sldId id="424" r:id="rId25"/>
    <p:sldId id="425" r:id="rId26"/>
    <p:sldId id="427" r:id="rId27"/>
    <p:sldId id="452" r:id="rId28"/>
    <p:sldId id="453" r:id="rId29"/>
    <p:sldId id="428" r:id="rId30"/>
    <p:sldId id="429" r:id="rId31"/>
    <p:sldId id="430" r:id="rId32"/>
    <p:sldId id="454" r:id="rId33"/>
    <p:sldId id="457" r:id="rId34"/>
    <p:sldId id="433" r:id="rId35"/>
    <p:sldId id="434" r:id="rId36"/>
    <p:sldId id="435" r:id="rId37"/>
    <p:sldId id="436" r:id="rId38"/>
    <p:sldId id="437" r:id="rId39"/>
    <p:sldId id="438" r:id="rId40"/>
    <p:sldId id="439" r:id="rId41"/>
    <p:sldId id="440" r:id="rId42"/>
    <p:sldId id="441" r:id="rId43"/>
    <p:sldId id="442" r:id="rId44"/>
    <p:sldId id="443" r:id="rId45"/>
    <p:sldId id="444" r:id="rId46"/>
    <p:sldId id="445" r:id="rId47"/>
    <p:sldId id="451" r:id="rId48"/>
    <p:sldId id="449" r:id="rId49"/>
    <p:sldId id="450" r:id="rId50"/>
    <p:sldId id="455" r:id="rId51"/>
    <p:sldId id="391" r:id="rId52"/>
  </p:sldIdLst>
  <p:sldSz cx="9144000" cy="6858000" type="screen4x3"/>
  <p:notesSz cx="6807200" cy="99393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D0E7D8D7-D518-4BB9-A187-884EB76266CA}">
          <p14:sldIdLst>
            <p14:sldId id="421"/>
            <p14:sldId id="422"/>
            <p14:sldId id="424"/>
            <p14:sldId id="425"/>
            <p14:sldId id="427"/>
            <p14:sldId id="452"/>
            <p14:sldId id="453"/>
            <p14:sldId id="428"/>
            <p14:sldId id="429"/>
            <p14:sldId id="430"/>
            <p14:sldId id="454"/>
            <p14:sldId id="457"/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  <p14:sldId id="443"/>
            <p14:sldId id="444"/>
            <p14:sldId id="445"/>
            <p14:sldId id="451"/>
            <p14:sldId id="449"/>
            <p14:sldId id="450"/>
            <p14:sldId id="455"/>
            <p14:sldId id="391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960000"/>
    <a:srgbClr val="253917"/>
    <a:srgbClr val="33CCFF"/>
    <a:srgbClr val="CC0000"/>
    <a:srgbClr val="9966FF"/>
    <a:srgbClr val="B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87" autoAdjust="0"/>
    <p:restoredTop sz="96433" autoAdjust="0"/>
  </p:normalViewPr>
  <p:slideViewPr>
    <p:cSldViewPr>
      <p:cViewPr varScale="1">
        <p:scale>
          <a:sx n="116" d="100"/>
          <a:sy n="116" d="100"/>
        </p:scale>
        <p:origin x="-1494" y="-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20" d="100"/>
          <a:sy n="120" d="100"/>
        </p:scale>
        <p:origin x="978" y="-636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slide" Target="slides/slide25.xml"/><Relationship Id="rId50" Type="http://schemas.openxmlformats.org/officeDocument/2006/relationships/slide" Target="slides/slide28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slide" Target="slides/slide24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41" Type="http://schemas.openxmlformats.org/officeDocument/2006/relationships/slide" Target="slides/slide19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3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slide" Target="slides/slide27.xml"/><Relationship Id="rId57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slide" Target="slides/slide3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slide" Target="slides/slide26.xml"/><Relationship Id="rId56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9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_Microsoft_Office_Excel_2007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_Microsoft_Office_Excel_2007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______Microsoft_Office_Excel_2007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8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  <a:t>Объем инвестиций</a:t>
            </a:r>
            <a:b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  <a:t>в основной капитал,</a:t>
            </a:r>
            <a:b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  <a:t>млн. рублей</a:t>
            </a:r>
            <a:endParaRPr lang="ru-RU" sz="1400" b="1" dirty="0">
              <a:solidFill>
                <a:schemeClr val="accent5">
                  <a:lumMod val="50000"/>
                </a:schemeClr>
              </a:solidFill>
            </a:endParaRPr>
          </a:p>
        </c:rich>
      </c:tx>
      <c:layout>
        <c:manualLayout>
          <c:xMode val="edge"/>
          <c:yMode val="edge"/>
          <c:x val="0.3447050904371699"/>
          <c:y val="6.9460430712565607E-2"/>
        </c:manualLayout>
      </c:layout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6.4751394659987915E-2"/>
          <c:y val="0.30377101109255777"/>
          <c:w val="0.93196096896840652"/>
          <c:h val="0.54362694902984543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6 год</c:v>
                </c:pt>
              </c:strCache>
            </c:strRef>
          </c:tx>
          <c:spPr>
            <a:solidFill>
              <a:schemeClr val="accent6">
                <a:tint val="58000"/>
              </a:schemeClr>
            </a:solidFill>
            <a:ln>
              <a:noFill/>
            </a:ln>
            <a:effectLst/>
            <a:scene3d>
              <a:camera prst="orthographicFront"/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83729,5</a:t>
                    </a:r>
                    <a:endParaRPr lang="en-US" dirty="0"/>
                  </a:p>
                </c:rich>
              </c:tx>
              <c:dLblPos val="outEnd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8B0-49F2-9845-ED96C4E4A58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ъем инвестиций в основной капитал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87729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9C2-4575-B161-ACE32F9E1B4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 год</c:v>
                </c:pt>
              </c:strCache>
            </c:strRef>
          </c:tx>
          <c:spPr>
            <a:solidFill>
              <a:schemeClr val="accent6">
                <a:tint val="86000"/>
              </a:schemeClr>
            </a:solidFill>
            <a:ln>
              <a:noFill/>
            </a:ln>
            <a:effectLst/>
            <a:scene3d>
              <a:camera prst="orthographicFront"/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08915,1</a:t>
                    </a:r>
                    <a:endParaRPr lang="en-US" dirty="0"/>
                  </a:p>
                </c:rich>
              </c:tx>
              <c:dLblPos val="outEnd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8B0-49F2-9845-ED96C4E4A58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ъем инвестиций в основной капитал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08915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9C2-4575-B161-ACE32F9E1B4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18 год</c:v>
                </c:pt>
              </c:strCache>
            </c:strRef>
          </c:tx>
          <c:spPr>
            <a:solidFill>
              <a:schemeClr val="accent6">
                <a:shade val="86000"/>
              </a:schemeClr>
            </a:solidFill>
            <a:ln>
              <a:noFill/>
            </a:ln>
            <a:effectLst/>
            <a:scene3d>
              <a:camera prst="orthographicFront"/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c:spPr>
          <c:dPt>
            <c:idx val="0"/>
            <c:spPr>
              <a:solidFill>
                <a:schemeClr val="accent6">
                  <a:shade val="6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contrasting" dir="t">
                  <a:rot lat="0" lon="0" rev="1500000"/>
                </a:lightRig>
              </a:scene3d>
              <a:sp3d prstMaterial="metal">
                <a:bevelT w="88900" h="889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8B0-49F2-9845-ED96C4E4A58F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07316,2</a:t>
                    </a:r>
                    <a:endParaRPr lang="en-US" dirty="0"/>
                  </a:p>
                </c:rich>
              </c:tx>
              <c:dLblPos val="outEnd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8B0-49F2-9845-ED96C4E4A58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ъем инвестиций в основной капитал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107316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BED-49A9-ABC8-010A507E1051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19 год</c:v>
                </c:pt>
              </c:strCache>
            </c:strRef>
          </c:tx>
          <c:spPr>
            <a:solidFill>
              <a:schemeClr val="accent6">
                <a:shade val="58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94040,0</a:t>
                    </a:r>
                    <a:endParaRPr lang="en-US" dirty="0"/>
                  </a:p>
                </c:rich>
              </c:tx>
              <c:dLblPos val="outEnd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8B0-49F2-9845-ED96C4E4A58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ъем инвестиций в основной капитал</c:v>
                </c:pt>
              </c:strCache>
            </c:strRef>
          </c:cat>
          <c:val>
            <c:numRef>
              <c:f>Лист1!$E$2</c:f>
              <c:numCache>
                <c:formatCode>General</c:formatCode>
                <c:ptCount val="1"/>
                <c:pt idx="0">
                  <c:v>100161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8B0-49F2-9845-ED96C4E4A58F}"/>
            </c:ext>
          </c:extLst>
        </c:ser>
        <c:dLbls>
          <c:showVal val="1"/>
        </c:dLbls>
        <c:gapWidth val="209"/>
        <c:overlap val="-100"/>
        <c:axId val="122561664"/>
        <c:axId val="122563200"/>
      </c:barChart>
      <c:catAx>
        <c:axId val="122561664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22563200"/>
        <c:crosses val="autoZero"/>
        <c:auto val="1"/>
        <c:lblAlgn val="ctr"/>
        <c:lblOffset val="100"/>
      </c:catAx>
      <c:valAx>
        <c:axId val="12256320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22561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2877176319410037E-2"/>
          <c:y val="0.83722208893972727"/>
          <c:w val="0.89999994491584279"/>
          <c:h val="0.11941661876529801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8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  <a:t>Доля объема инвестиций </a:t>
            </a:r>
            <a:b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  <a:t>в основной капитал к валовому региональному продукту, %</a:t>
            </a:r>
          </a:p>
        </c:rich>
      </c:tx>
      <c:layout>
        <c:manualLayout>
          <c:xMode val="edge"/>
          <c:yMode val="edge"/>
          <c:x val="0.14552422921871003"/>
          <c:y val="5.1954031227557013E-2"/>
        </c:manualLayout>
      </c:layout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9.0210456891547497E-2"/>
          <c:y val="0.30377095196675902"/>
          <c:w val="0.87964330951903003"/>
          <c:h val="0.54362694902984543"/>
        </c:manualLayout>
      </c:layout>
      <c:barChart>
        <c:barDir val="col"/>
        <c:grouping val="clustered"/>
        <c:ser>
          <c:idx val="0"/>
          <c:order val="0"/>
          <c:tx>
            <c:v>2016 год</c:v>
          </c:tx>
          <c:spPr>
            <a:solidFill>
              <a:schemeClr val="accent6">
                <a:tint val="6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9,7</a:t>
                    </a:r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33C-4947-BCE5-CC5ACD0D484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ъем инвестиций в основной капитал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87729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9C2-4575-B161-ACE32F9E1B4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 год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3,3</a:t>
                    </a:r>
                    <a:endParaRPr lang="en-US" dirty="0"/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FFFA-4957-B063-6E413A74481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ъем инвестиций в основной капитал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08915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9C2-4575-B161-ACE32F9E1B4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18 год</c:v>
                </c:pt>
              </c:strCache>
            </c:strRef>
          </c:tx>
          <c:spPr>
            <a:solidFill>
              <a:schemeClr val="accent6">
                <a:shade val="6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FFFA-4957-B063-6E413A744813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0,9</a:t>
                    </a:r>
                    <a:endParaRPr lang="en-US" dirty="0"/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FFFA-4957-B063-6E413A74481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ъем инвестиций в основной капитал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100161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BED-49A9-ABC8-010A507E1051}"/>
            </c:ext>
          </c:extLst>
        </c:ser>
        <c:dLbls/>
        <c:gapWidth val="209"/>
        <c:overlap val="-100"/>
        <c:axId val="147140992"/>
        <c:axId val="147142528"/>
      </c:barChart>
      <c:catAx>
        <c:axId val="14714099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47142528"/>
        <c:crosses val="autoZero"/>
        <c:auto val="1"/>
        <c:lblAlgn val="ctr"/>
        <c:lblOffset val="100"/>
      </c:catAx>
      <c:valAx>
        <c:axId val="147142528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47140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2877176319410023E-2"/>
          <c:y val="0.83722208893972727"/>
          <c:w val="0.82213019156499467"/>
          <c:h val="0.10639982510425375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 b="1" dirty="0" smtClean="0"/>
              <a:t>СТАВКИ</a:t>
            </a:r>
            <a:r>
              <a:rPr lang="ru-RU" sz="1600" b="1" baseline="0" dirty="0" smtClean="0"/>
              <a:t> ПО МИКРОЗАЙМАМ МКК «РАЗВИТИЕ»</a:t>
            </a:r>
            <a:endParaRPr lang="ru-RU" sz="1600" b="1" dirty="0"/>
          </a:p>
        </c:rich>
      </c:tx>
      <c:layout>
        <c:manualLayout>
          <c:xMode val="edge"/>
          <c:yMode val="edge"/>
          <c:x val="0.2720103276081558"/>
          <c:y val="6.495755848957406E-2"/>
        </c:manualLayout>
      </c:layout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7.560104986876641E-2"/>
          <c:y val="0.15010949803149612"/>
          <c:w val="0.89731561679790028"/>
          <c:h val="0.64432603346456718"/>
        </c:manualLayout>
      </c:layout>
      <c:lineChart>
        <c:grouping val="standard"/>
        <c:ser>
          <c:idx val="0"/>
          <c:order val="0"/>
          <c:tx>
            <c:strRef>
              <c:f>Лист1!$B$1:$C$1</c:f>
              <c:strCache>
                <c:ptCount val="1"/>
                <c:pt idx="0">
                  <c:v>минимальная ставка максимальная ставка</c:v>
                </c:pt>
              </c:strCache>
            </c:strRef>
          </c:tx>
          <c:spPr>
            <a:ln w="38100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1.8749999999999999E-2"/>
                  <c:y val="0.10312499999999999"/>
                </c:manualLayout>
              </c:layout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B08-4B32-9AFE-C8720E421D5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dLbl>
              <c:idx val="1"/>
              <c:layout>
                <c:manualLayout>
                  <c:x val="-3.958333333333338E-2"/>
                  <c:y val="0.15625000000000003"/>
                </c:manualLayout>
              </c:layout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B08-4B32-9AFE-C8720E421D5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dLbl>
              <c:idx val="2"/>
              <c:layout>
                <c:manualLayout>
                  <c:x val="-4.5833333333333344E-2"/>
                  <c:y val="0.11874999999999998"/>
                </c:manualLayout>
              </c:layout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5B08-4B32-9AFE-C8720E421D5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dLbl>
              <c:idx val="3"/>
              <c:layout>
                <c:manualLayout>
                  <c:x val="-6.2500000000000083E-2"/>
                  <c:y val="9.0625000000000039E-2"/>
                </c:manualLayout>
              </c:layout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B08-4B32-9AFE-C8720E421D5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dLbl>
              <c:idx val="4"/>
              <c:layout>
                <c:manualLayout>
                  <c:x val="-4.5833333333333344E-2"/>
                  <c:y val="8.7499999999999897E-2"/>
                </c:manualLayout>
              </c:layout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5B08-4B32-9AFE-C8720E421D5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dLbl>
              <c:idx val="5"/>
              <c:layout>
                <c:manualLayout>
                  <c:x val="0"/>
                  <c:y val="9.9999999999999922E-2"/>
                </c:manualLayout>
              </c:layout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5B08-4B32-9AFE-C8720E421D5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4.2873031496062995E-2"/>
                      <c:h val="5.518996062992125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noFill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2010</c:v>
                </c:pt>
                <c:pt idx="1">
                  <c:v>2017</c:v>
                </c:pt>
                <c:pt idx="2">
                  <c:v>2018</c:v>
                </c:pt>
                <c:pt idx="3">
                  <c:v>2019                                        (1 полугодие)</c:v>
                </c:pt>
                <c:pt idx="4">
                  <c:v>2019                                                   (2 полугодие)</c:v>
                </c:pt>
                <c:pt idx="5">
                  <c:v>2020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1</c:v>
                </c:pt>
                <c:pt idx="1">
                  <c:v>0.1</c:v>
                </c:pt>
                <c:pt idx="2">
                  <c:v>7.0000000000000021E-2</c:v>
                </c:pt>
                <c:pt idx="3" formatCode="0.00%">
                  <c:v>7.2500000000000009E-2</c:v>
                </c:pt>
                <c:pt idx="4" formatCode="0.00%">
                  <c:v>3.1199999999999999E-2</c:v>
                </c:pt>
                <c:pt idx="5">
                  <c:v>3.000000000000000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B08-4B32-9AFE-C8720E421D5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аксимальная ставка</c:v>
                </c:pt>
              </c:strCache>
            </c:strRef>
          </c:tx>
          <c:spPr>
            <a:ln w="381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1.4681721095390525E-2"/>
                  <c:y val="-7.179582849276811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smtClean="0"/>
                      <a:t> </a:t>
                    </a:r>
                    <a:fld id="{ADFA564D-DC78-43B9-B71F-78246DDBC8B7}" type="VALUE">
                      <a:rPr lang="en-US" baseline="0"/>
                      <a:pPr/>
                      <a:t>[ЗНАЧЕНИЕ]</a:t>
                    </a:fld>
                    <a:endParaRPr lang="en-US" baseline="0" smtClean="0"/>
                  </a:p>
                </c:rich>
              </c:tx>
              <c:showVal val="1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5B08-4B32-9AFE-C8720E421D56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5.8726884381561989E-3"/>
                  <c:y val="-7.179582849276811E-2"/>
                </c:manualLayout>
              </c:layout>
              <c:tx>
                <c:rich>
                  <a:bodyPr/>
                  <a:lstStyle/>
                  <a:p>
                    <a:fld id="{215A4FA3-6C12-49E1-99F6-AE77FBD1D2E0}" type="VALUE">
                      <a:rPr lang="en-US" baseline="0" smtClean="0"/>
                      <a:pPr/>
                      <a:t>[ЗНАЧЕНИЕ]</a:t>
                    </a:fld>
                    <a:endParaRPr lang="ru-RU"/>
                  </a:p>
                </c:rich>
              </c:tx>
              <c:showVal val="1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5B08-4B32-9AFE-C8720E421D56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1.4681721095389962E-3"/>
                  <c:y val="-5.98298570773068E-2"/>
                </c:manualLayout>
              </c:layout>
              <c:tx>
                <c:rich>
                  <a:bodyPr/>
                  <a:lstStyle/>
                  <a:p>
                    <a:fld id="{57A16814-5E38-4111-85B7-9EACF3115C48}" type="VALUE">
                      <a:rPr lang="en-US" baseline="0" smtClean="0"/>
                      <a:pPr/>
                      <a:t>[ЗНАЧЕНИЕ]</a:t>
                    </a:fld>
                    <a:endParaRPr lang="ru-RU"/>
                  </a:p>
                </c:rich>
              </c:tx>
              <c:showVal val="1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5B08-4B32-9AFE-C8720E421D56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8.8090326572343013E-3"/>
                  <c:y val="-7.478732134663349E-2"/>
                </c:manualLayout>
              </c:layout>
              <c:tx>
                <c:rich>
                  <a:bodyPr/>
                  <a:lstStyle/>
                  <a:p>
                    <a:fld id="{8346DC22-3685-40BB-B58E-F88D87A1C397}" type="VALUE">
                      <a:rPr lang="en-US" baseline="0" smtClean="0"/>
                      <a:pPr/>
                      <a:t>[ЗНАЧЕНИЕ]</a:t>
                    </a:fld>
                    <a:endParaRPr lang="ru-RU"/>
                  </a:p>
                </c:rich>
              </c:tx>
              <c:showVal val="1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5B08-4B32-9AFE-C8720E421D56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1.4681721095389422E-3"/>
                  <c:y val="-7.179582849276811E-2"/>
                </c:manualLayout>
              </c:layout>
              <c:tx>
                <c:rich>
                  <a:bodyPr/>
                  <a:lstStyle/>
                  <a:p>
                    <a:fld id="{CAE62AB9-7CC5-4774-ADA6-77FF8189AEC5}" type="VALUE">
                      <a:rPr lang="en-US" baseline="0" smtClean="0"/>
                      <a:pPr/>
                      <a:t>[ЗНАЧЕНИЕ]</a:t>
                    </a:fld>
                    <a:endParaRPr lang="ru-RU"/>
                  </a:p>
                </c:rich>
              </c:tx>
              <c:showVal val="1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5B08-4B32-9AFE-C8720E421D56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5"/>
              <c:layout>
                <c:manualLayout>
                  <c:x val="1.0277204766773346E-2"/>
                  <c:y val="-8.3761799908229559E-2"/>
                </c:manualLayout>
              </c:layout>
              <c:tx>
                <c:rich>
                  <a:bodyPr/>
                  <a:lstStyle/>
                  <a:p>
                    <a:fld id="{2F67D0F3-DC43-43D8-B6E9-207F90503A61}" type="VALUE">
                      <a:rPr lang="en-US" baseline="0" smtClean="0"/>
                      <a:pPr/>
                      <a:t>[ЗНАЧЕНИЕ]</a:t>
                    </a:fld>
                    <a:endParaRPr lang="ru-RU"/>
                  </a:p>
                </c:rich>
              </c:tx>
              <c:showVal val="1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5B08-4B32-9AFE-C8720E421D56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showCatName val="1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10</c:v>
                </c:pt>
                <c:pt idx="1">
                  <c:v>2017</c:v>
                </c:pt>
                <c:pt idx="2">
                  <c:v>2018</c:v>
                </c:pt>
                <c:pt idx="3">
                  <c:v>2019                                        (1 полугодие)</c:v>
                </c:pt>
                <c:pt idx="4">
                  <c:v>2019                                                   (2 полугодие)</c:v>
                </c:pt>
                <c:pt idx="5">
                  <c:v>2020</c:v>
                </c:pt>
              </c:strCache>
            </c:strRef>
          </c:cat>
          <c:val>
            <c:numRef>
              <c:f>Лист1!$C$2:$C$7</c:f>
              <c:numCache>
                <c:formatCode>0%</c:formatCode>
                <c:ptCount val="6"/>
                <c:pt idx="0">
                  <c:v>0.1</c:v>
                </c:pt>
                <c:pt idx="1">
                  <c:v>0.1</c:v>
                </c:pt>
                <c:pt idx="2">
                  <c:v>9.0000000000000011E-2</c:v>
                </c:pt>
                <c:pt idx="3" formatCode="0.00%">
                  <c:v>7.7500000000000013E-2</c:v>
                </c:pt>
                <c:pt idx="4" formatCode="0.00%">
                  <c:v>6.25E-2</c:v>
                </c:pt>
                <c:pt idx="5">
                  <c:v>6.0000000000000005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5B08-4B32-9AFE-C8720E421D56}"/>
            </c:ext>
          </c:extLst>
        </c:ser>
        <c:dLbls/>
        <c:marker val="1"/>
        <c:axId val="168265984"/>
        <c:axId val="171257856"/>
      </c:lineChart>
      <c:catAx>
        <c:axId val="16826598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1257856"/>
        <c:crosses val="autoZero"/>
        <c:auto val="1"/>
        <c:lblAlgn val="ctr"/>
        <c:lblOffset val="100"/>
      </c:catAx>
      <c:valAx>
        <c:axId val="17125785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8265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5573116589512489E-2"/>
          <c:y val="0.91485033584807174"/>
          <c:w val="0.66164644288486829"/>
          <c:h val="6.1217721321005572E-2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image" Target="../media/image87.gif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22A782-AA14-40EB-B9ED-444DCAEF9608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81FAAAB-4596-4A82-8825-853B061A5B84}">
      <dgm:prSet phldrT="[Текст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 algn="ctr"/>
          <a:r>
            <a:rPr lang="ru-RU" sz="1100" b="1" dirty="0" smtClean="0">
              <a:solidFill>
                <a:schemeClr val="accent1">
                  <a:lumMod val="50000"/>
                </a:schemeClr>
              </a:solidFill>
            </a:rPr>
            <a:t>Площадь центра составляет </a:t>
          </a:r>
        </a:p>
        <a:p>
          <a:pPr algn="ctr"/>
          <a:r>
            <a:rPr lang="ru-RU" sz="1100" b="1" dirty="0" smtClean="0">
              <a:solidFill>
                <a:schemeClr val="accent1">
                  <a:lumMod val="50000"/>
                </a:schemeClr>
              </a:solidFill>
            </a:rPr>
            <a:t>1 500 кв. метров</a:t>
          </a:r>
          <a:endParaRPr lang="ru-RU" sz="1100" b="1" dirty="0">
            <a:solidFill>
              <a:schemeClr val="accent1">
                <a:lumMod val="50000"/>
              </a:schemeClr>
            </a:solidFill>
          </a:endParaRPr>
        </a:p>
      </dgm:t>
    </dgm:pt>
    <dgm:pt modelId="{B8F8679E-66C3-44DE-AFDE-09A2A0CC57B2}" type="parTrans" cxnId="{AA1A9BC7-F219-4B21-99F7-24E1033623A8}">
      <dgm:prSet/>
      <dgm:spPr/>
      <dgm:t>
        <a:bodyPr/>
        <a:lstStyle/>
        <a:p>
          <a:endParaRPr lang="ru-RU"/>
        </a:p>
      </dgm:t>
    </dgm:pt>
    <dgm:pt modelId="{415C3C6A-D1BF-40F6-ABB0-AB1895C73B77}" type="sibTrans" cxnId="{AA1A9BC7-F219-4B21-99F7-24E1033623A8}">
      <dgm:prSet/>
      <dgm:spPr/>
      <dgm:t>
        <a:bodyPr/>
        <a:lstStyle/>
        <a:p>
          <a:endParaRPr lang="ru-RU"/>
        </a:p>
      </dgm:t>
    </dgm:pt>
    <dgm:pt modelId="{0791835A-AA95-4DFF-A577-043BAA5C9B5C}">
      <dgm:prSet phldrT="[Текст]" custT="1"/>
      <dgm:spPr>
        <a:solidFill>
          <a:schemeClr val="accent5">
            <a:lumMod val="50000"/>
          </a:schemeClr>
        </a:solidFill>
      </dgm:spPr>
      <dgm:t>
        <a:bodyPr/>
        <a:lstStyle/>
        <a:p>
          <a:pPr algn="ctr"/>
          <a:r>
            <a:rPr lang="ru-RU" sz="1000" b="1" dirty="0" smtClean="0">
              <a:latin typeface="Arial" panose="020B0604020202020204" pitchFamily="34" charset="0"/>
              <a:cs typeface="Arial" panose="020B0604020202020204" pitchFamily="34" charset="0"/>
            </a:rPr>
            <a:t>15</a:t>
          </a:r>
          <a:r>
            <a:rPr lang="ru-RU" sz="10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100" b="1" dirty="0" smtClean="0">
              <a:latin typeface="Arial" panose="020B0604020202020204" pitchFamily="34" charset="0"/>
              <a:cs typeface="Arial" panose="020B0604020202020204" pitchFamily="34" charset="0"/>
            </a:rPr>
            <a:t>компаний-резидентов</a:t>
          </a:r>
          <a:endParaRPr lang="ru-RU" sz="11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C3FD0FE-C13D-42C4-B9FC-B55BDF3E6B4E}" type="parTrans" cxnId="{FB56C0AD-9BE5-4AFA-B261-29B7EFE91127}">
      <dgm:prSet/>
      <dgm:spPr/>
      <dgm:t>
        <a:bodyPr/>
        <a:lstStyle/>
        <a:p>
          <a:endParaRPr lang="ru-RU"/>
        </a:p>
      </dgm:t>
    </dgm:pt>
    <dgm:pt modelId="{DBC661AD-8359-4A58-9BCD-0402F735F1A6}" type="sibTrans" cxnId="{FB56C0AD-9BE5-4AFA-B261-29B7EFE91127}">
      <dgm:prSet/>
      <dgm:spPr/>
      <dgm:t>
        <a:bodyPr/>
        <a:lstStyle/>
        <a:p>
          <a:endParaRPr lang="ru-RU"/>
        </a:p>
      </dgm:t>
    </dgm:pt>
    <dgm:pt modelId="{6A8FEE20-3D6C-44E2-B63F-C1A1EE4D1B4A}">
      <dgm:prSet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pPr algn="ctr"/>
          <a:r>
            <a:rPr lang="ru-RU" sz="1100" b="1" dirty="0" smtClean="0">
              <a:solidFill>
                <a:schemeClr val="accent1">
                  <a:lumMod val="50000"/>
                </a:schemeClr>
              </a:solidFill>
            </a:rPr>
            <a:t>Открытие состоялось 24 июля 2019 года</a:t>
          </a:r>
          <a:endParaRPr lang="ru-RU" sz="1100" b="1" dirty="0">
            <a:solidFill>
              <a:schemeClr val="accent1">
                <a:lumMod val="50000"/>
              </a:schemeClr>
            </a:solidFill>
          </a:endParaRPr>
        </a:p>
      </dgm:t>
    </dgm:pt>
    <dgm:pt modelId="{4C7FBCC5-D55B-4686-B697-3B2519CCFC1C}" type="parTrans" cxnId="{5BE498B4-8D9E-4352-BDEE-4F50870B4FAF}">
      <dgm:prSet/>
      <dgm:spPr/>
      <dgm:t>
        <a:bodyPr/>
        <a:lstStyle/>
        <a:p>
          <a:endParaRPr lang="ru-RU"/>
        </a:p>
      </dgm:t>
    </dgm:pt>
    <dgm:pt modelId="{6900B1D0-382A-425D-848B-C55130B555E4}" type="sibTrans" cxnId="{5BE498B4-8D9E-4352-BDEE-4F50870B4FAF}">
      <dgm:prSet/>
      <dgm:spPr/>
      <dgm:t>
        <a:bodyPr/>
        <a:lstStyle/>
        <a:p>
          <a:endParaRPr lang="ru-RU"/>
        </a:p>
      </dgm:t>
    </dgm:pt>
    <dgm:pt modelId="{3C93ACB5-B09B-455B-AAD8-A56BB78DB18F}" type="pres">
      <dgm:prSet presAssocID="{2022A782-AA14-40EB-B9ED-444DCAEF960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905956B-CD77-469F-95A2-DD8BCF4500C2}" type="pres">
      <dgm:prSet presAssocID="{6A8FEE20-3D6C-44E2-B63F-C1A1EE4D1B4A}" presName="parentLin" presStyleCnt="0"/>
      <dgm:spPr/>
    </dgm:pt>
    <dgm:pt modelId="{FD551948-95D1-422B-AE9D-2115287A80F9}" type="pres">
      <dgm:prSet presAssocID="{6A8FEE20-3D6C-44E2-B63F-C1A1EE4D1B4A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2A47D0C1-C9B8-4F3B-A870-0B95443F61A3}" type="pres">
      <dgm:prSet presAssocID="{6A8FEE20-3D6C-44E2-B63F-C1A1EE4D1B4A}" presName="parentText" presStyleLbl="node1" presStyleIdx="0" presStyleCnt="3" custScaleY="219411" custLinFactNeighborX="55136" custLinFactNeighborY="1413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10C56E-C5E7-4FD4-87F5-E5F234909012}" type="pres">
      <dgm:prSet presAssocID="{6A8FEE20-3D6C-44E2-B63F-C1A1EE4D1B4A}" presName="negativeSpace" presStyleCnt="0"/>
      <dgm:spPr/>
    </dgm:pt>
    <dgm:pt modelId="{333AAB10-1E68-4801-BCE5-33CEB401C558}" type="pres">
      <dgm:prSet presAssocID="{6A8FEE20-3D6C-44E2-B63F-C1A1EE4D1B4A}" presName="childText" presStyleLbl="conFgAcc1" presStyleIdx="0" presStyleCnt="3" custScaleX="85549">
        <dgm:presLayoutVars>
          <dgm:bulletEnabled val="1"/>
        </dgm:presLayoutVars>
      </dgm:prSet>
      <dgm:spPr/>
    </dgm:pt>
    <dgm:pt modelId="{249BF02B-550F-4708-B75A-1DC16974CA38}" type="pres">
      <dgm:prSet presAssocID="{6900B1D0-382A-425D-848B-C55130B555E4}" presName="spaceBetweenRectangles" presStyleCnt="0"/>
      <dgm:spPr/>
    </dgm:pt>
    <dgm:pt modelId="{FB102317-9EFB-4293-9C04-2570CF9D3ADD}" type="pres">
      <dgm:prSet presAssocID="{A81FAAAB-4596-4A82-8825-853B061A5B84}" presName="parentLin" presStyleCnt="0"/>
      <dgm:spPr/>
    </dgm:pt>
    <dgm:pt modelId="{E557A802-7407-4322-8A26-164DD90A5C52}" type="pres">
      <dgm:prSet presAssocID="{A81FAAAB-4596-4A82-8825-853B061A5B84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1984F0A5-3D01-47DB-9D30-18F4864F95B0}" type="pres">
      <dgm:prSet presAssocID="{A81FAAAB-4596-4A82-8825-853B061A5B84}" presName="parentText" presStyleLbl="node1" presStyleIdx="1" presStyleCnt="3" custScaleX="103924" custScaleY="233864" custLinFactNeighborX="33701" custLinFactNeighborY="1569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CF8A5D-7F54-4194-96B7-67ABE69B3719}" type="pres">
      <dgm:prSet presAssocID="{A81FAAAB-4596-4A82-8825-853B061A5B84}" presName="negativeSpace" presStyleCnt="0"/>
      <dgm:spPr/>
    </dgm:pt>
    <dgm:pt modelId="{2D4EBE1F-6E2C-4EFE-875F-93AF92B3AF4E}" type="pres">
      <dgm:prSet presAssocID="{A81FAAAB-4596-4A82-8825-853B061A5B84}" presName="childText" presStyleLbl="conFgAcc1" presStyleIdx="1" presStyleCnt="3" custScaleX="85548">
        <dgm:presLayoutVars>
          <dgm:bulletEnabled val="1"/>
        </dgm:presLayoutVars>
      </dgm:prSet>
      <dgm:spPr/>
    </dgm:pt>
    <dgm:pt modelId="{6B4925A9-9475-4E9D-AE48-240095EE6430}" type="pres">
      <dgm:prSet presAssocID="{415C3C6A-D1BF-40F6-ABB0-AB1895C73B77}" presName="spaceBetweenRectangles" presStyleCnt="0"/>
      <dgm:spPr/>
    </dgm:pt>
    <dgm:pt modelId="{89EB5516-E584-4CE6-BF16-1B4B1F19E226}" type="pres">
      <dgm:prSet presAssocID="{0791835A-AA95-4DFF-A577-043BAA5C9B5C}" presName="parentLin" presStyleCnt="0"/>
      <dgm:spPr/>
    </dgm:pt>
    <dgm:pt modelId="{76832926-09F2-462E-8694-8BD6FA1289A8}" type="pres">
      <dgm:prSet presAssocID="{0791835A-AA95-4DFF-A577-043BAA5C9B5C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CD0A9B22-75AE-4E6C-9058-0ABAD6303321}" type="pres">
      <dgm:prSet presAssocID="{0791835A-AA95-4DFF-A577-043BAA5C9B5C}" presName="parentText" presStyleLbl="node1" presStyleIdx="2" presStyleCnt="3" custScaleY="169590" custLinFactNeighborX="55136" custLinFactNeighborY="3352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570199-A67B-4D9C-8FAD-253B5101B564}" type="pres">
      <dgm:prSet presAssocID="{0791835A-AA95-4DFF-A577-043BAA5C9B5C}" presName="negativeSpace" presStyleCnt="0"/>
      <dgm:spPr/>
    </dgm:pt>
    <dgm:pt modelId="{E85FD6FA-2C56-4A54-A670-433D8B01910D}" type="pres">
      <dgm:prSet presAssocID="{0791835A-AA95-4DFF-A577-043BAA5C9B5C}" presName="childText" presStyleLbl="conFgAcc1" presStyleIdx="2" presStyleCnt="3" custScaleX="85549">
        <dgm:presLayoutVars>
          <dgm:bulletEnabled val="1"/>
        </dgm:presLayoutVars>
      </dgm:prSet>
      <dgm:spPr/>
    </dgm:pt>
  </dgm:ptLst>
  <dgm:cxnLst>
    <dgm:cxn modelId="{DDB3E232-8185-410A-8CAF-8123F80FF891}" type="presOf" srcId="{A81FAAAB-4596-4A82-8825-853B061A5B84}" destId="{1984F0A5-3D01-47DB-9D30-18F4864F95B0}" srcOrd="1" destOrd="0" presId="urn:microsoft.com/office/officeart/2005/8/layout/list1"/>
    <dgm:cxn modelId="{003FCCD0-5FDF-4812-B64D-F794A28D7A6E}" type="presOf" srcId="{2022A782-AA14-40EB-B9ED-444DCAEF9608}" destId="{3C93ACB5-B09B-455B-AAD8-A56BB78DB18F}" srcOrd="0" destOrd="0" presId="urn:microsoft.com/office/officeart/2005/8/layout/list1"/>
    <dgm:cxn modelId="{E00B4C65-B390-40BD-BFEF-0E8B532E278F}" type="presOf" srcId="{6A8FEE20-3D6C-44E2-B63F-C1A1EE4D1B4A}" destId="{FD551948-95D1-422B-AE9D-2115287A80F9}" srcOrd="0" destOrd="0" presId="urn:microsoft.com/office/officeart/2005/8/layout/list1"/>
    <dgm:cxn modelId="{9E1FE37B-1D97-44A6-8F07-816092D903B3}" type="presOf" srcId="{0791835A-AA95-4DFF-A577-043BAA5C9B5C}" destId="{CD0A9B22-75AE-4E6C-9058-0ABAD6303321}" srcOrd="1" destOrd="0" presId="urn:microsoft.com/office/officeart/2005/8/layout/list1"/>
    <dgm:cxn modelId="{F85CF7BE-ACE2-438D-9D4B-DEEBA2024741}" type="presOf" srcId="{0791835A-AA95-4DFF-A577-043BAA5C9B5C}" destId="{76832926-09F2-462E-8694-8BD6FA1289A8}" srcOrd="0" destOrd="0" presId="urn:microsoft.com/office/officeart/2005/8/layout/list1"/>
    <dgm:cxn modelId="{AA1A9BC7-F219-4B21-99F7-24E1033623A8}" srcId="{2022A782-AA14-40EB-B9ED-444DCAEF9608}" destId="{A81FAAAB-4596-4A82-8825-853B061A5B84}" srcOrd="1" destOrd="0" parTransId="{B8F8679E-66C3-44DE-AFDE-09A2A0CC57B2}" sibTransId="{415C3C6A-D1BF-40F6-ABB0-AB1895C73B77}"/>
    <dgm:cxn modelId="{254F3943-2E35-481A-8CB9-BE97D59DA840}" type="presOf" srcId="{6A8FEE20-3D6C-44E2-B63F-C1A1EE4D1B4A}" destId="{2A47D0C1-C9B8-4F3B-A870-0B95443F61A3}" srcOrd="1" destOrd="0" presId="urn:microsoft.com/office/officeart/2005/8/layout/list1"/>
    <dgm:cxn modelId="{5BE498B4-8D9E-4352-BDEE-4F50870B4FAF}" srcId="{2022A782-AA14-40EB-B9ED-444DCAEF9608}" destId="{6A8FEE20-3D6C-44E2-B63F-C1A1EE4D1B4A}" srcOrd="0" destOrd="0" parTransId="{4C7FBCC5-D55B-4686-B697-3B2519CCFC1C}" sibTransId="{6900B1D0-382A-425D-848B-C55130B555E4}"/>
    <dgm:cxn modelId="{FB56C0AD-9BE5-4AFA-B261-29B7EFE91127}" srcId="{2022A782-AA14-40EB-B9ED-444DCAEF9608}" destId="{0791835A-AA95-4DFF-A577-043BAA5C9B5C}" srcOrd="2" destOrd="0" parTransId="{FC3FD0FE-C13D-42C4-B9FC-B55BDF3E6B4E}" sibTransId="{DBC661AD-8359-4A58-9BCD-0402F735F1A6}"/>
    <dgm:cxn modelId="{16A1AA16-EF9C-4E16-BC07-9849EB059BF7}" type="presOf" srcId="{A81FAAAB-4596-4A82-8825-853B061A5B84}" destId="{E557A802-7407-4322-8A26-164DD90A5C52}" srcOrd="0" destOrd="0" presId="urn:microsoft.com/office/officeart/2005/8/layout/list1"/>
    <dgm:cxn modelId="{03B92609-5F4E-4A68-950D-2E35ECBD80CD}" type="presParOf" srcId="{3C93ACB5-B09B-455B-AAD8-A56BB78DB18F}" destId="{8905956B-CD77-469F-95A2-DD8BCF4500C2}" srcOrd="0" destOrd="0" presId="urn:microsoft.com/office/officeart/2005/8/layout/list1"/>
    <dgm:cxn modelId="{EA0EA118-520F-4B02-9681-2FD9768C9391}" type="presParOf" srcId="{8905956B-CD77-469F-95A2-DD8BCF4500C2}" destId="{FD551948-95D1-422B-AE9D-2115287A80F9}" srcOrd="0" destOrd="0" presId="urn:microsoft.com/office/officeart/2005/8/layout/list1"/>
    <dgm:cxn modelId="{CC99DA8B-5E01-4E9F-9299-7A92DBAA1032}" type="presParOf" srcId="{8905956B-CD77-469F-95A2-DD8BCF4500C2}" destId="{2A47D0C1-C9B8-4F3B-A870-0B95443F61A3}" srcOrd="1" destOrd="0" presId="urn:microsoft.com/office/officeart/2005/8/layout/list1"/>
    <dgm:cxn modelId="{1D7663E7-4CC4-4A89-9104-09105DD65B72}" type="presParOf" srcId="{3C93ACB5-B09B-455B-AAD8-A56BB78DB18F}" destId="{9910C56E-C5E7-4FD4-87F5-E5F234909012}" srcOrd="1" destOrd="0" presId="urn:microsoft.com/office/officeart/2005/8/layout/list1"/>
    <dgm:cxn modelId="{4806B6CD-9C0F-4290-A464-EF648075B63A}" type="presParOf" srcId="{3C93ACB5-B09B-455B-AAD8-A56BB78DB18F}" destId="{333AAB10-1E68-4801-BCE5-33CEB401C558}" srcOrd="2" destOrd="0" presId="urn:microsoft.com/office/officeart/2005/8/layout/list1"/>
    <dgm:cxn modelId="{A9BBEECA-747D-4CDD-82CE-6A29DD1E1383}" type="presParOf" srcId="{3C93ACB5-B09B-455B-AAD8-A56BB78DB18F}" destId="{249BF02B-550F-4708-B75A-1DC16974CA38}" srcOrd="3" destOrd="0" presId="urn:microsoft.com/office/officeart/2005/8/layout/list1"/>
    <dgm:cxn modelId="{CEAE3354-A9B1-49FD-A98A-26ABFFA0A7F9}" type="presParOf" srcId="{3C93ACB5-B09B-455B-AAD8-A56BB78DB18F}" destId="{FB102317-9EFB-4293-9C04-2570CF9D3ADD}" srcOrd="4" destOrd="0" presId="urn:microsoft.com/office/officeart/2005/8/layout/list1"/>
    <dgm:cxn modelId="{D3948AA4-0CA0-4EA8-9FA9-DB57FB4EDE75}" type="presParOf" srcId="{FB102317-9EFB-4293-9C04-2570CF9D3ADD}" destId="{E557A802-7407-4322-8A26-164DD90A5C52}" srcOrd="0" destOrd="0" presId="urn:microsoft.com/office/officeart/2005/8/layout/list1"/>
    <dgm:cxn modelId="{7421823E-9FB0-476F-9262-D564BC649707}" type="presParOf" srcId="{FB102317-9EFB-4293-9C04-2570CF9D3ADD}" destId="{1984F0A5-3D01-47DB-9D30-18F4864F95B0}" srcOrd="1" destOrd="0" presId="urn:microsoft.com/office/officeart/2005/8/layout/list1"/>
    <dgm:cxn modelId="{7180D65A-F3B4-4872-9C6B-19399C702065}" type="presParOf" srcId="{3C93ACB5-B09B-455B-AAD8-A56BB78DB18F}" destId="{55CF8A5D-7F54-4194-96B7-67ABE69B3719}" srcOrd="5" destOrd="0" presId="urn:microsoft.com/office/officeart/2005/8/layout/list1"/>
    <dgm:cxn modelId="{9D83E448-18EE-464D-AEF7-69B5E1F8A458}" type="presParOf" srcId="{3C93ACB5-B09B-455B-AAD8-A56BB78DB18F}" destId="{2D4EBE1F-6E2C-4EFE-875F-93AF92B3AF4E}" srcOrd="6" destOrd="0" presId="urn:microsoft.com/office/officeart/2005/8/layout/list1"/>
    <dgm:cxn modelId="{90A38173-E8ED-44B4-A1B8-0C8C5DEA460A}" type="presParOf" srcId="{3C93ACB5-B09B-455B-AAD8-A56BB78DB18F}" destId="{6B4925A9-9475-4E9D-AE48-240095EE6430}" srcOrd="7" destOrd="0" presId="urn:microsoft.com/office/officeart/2005/8/layout/list1"/>
    <dgm:cxn modelId="{1AC30F51-973B-4EA1-8E7D-709B3CF4BF6A}" type="presParOf" srcId="{3C93ACB5-B09B-455B-AAD8-A56BB78DB18F}" destId="{89EB5516-E584-4CE6-BF16-1B4B1F19E226}" srcOrd="8" destOrd="0" presId="urn:microsoft.com/office/officeart/2005/8/layout/list1"/>
    <dgm:cxn modelId="{B4108B99-6C2D-4836-BB55-682F77A0C21D}" type="presParOf" srcId="{89EB5516-E584-4CE6-BF16-1B4B1F19E226}" destId="{76832926-09F2-462E-8694-8BD6FA1289A8}" srcOrd="0" destOrd="0" presId="urn:microsoft.com/office/officeart/2005/8/layout/list1"/>
    <dgm:cxn modelId="{7499FDF8-EDEC-44EF-BBCB-A718543726C3}" type="presParOf" srcId="{89EB5516-E584-4CE6-BF16-1B4B1F19E226}" destId="{CD0A9B22-75AE-4E6C-9058-0ABAD6303321}" srcOrd="1" destOrd="0" presId="urn:microsoft.com/office/officeart/2005/8/layout/list1"/>
    <dgm:cxn modelId="{0339DBF0-A6DF-4B31-8B98-F92686B6ECC3}" type="presParOf" srcId="{3C93ACB5-B09B-455B-AAD8-A56BB78DB18F}" destId="{50570199-A67B-4D9C-8FAD-253B5101B564}" srcOrd="9" destOrd="0" presId="urn:microsoft.com/office/officeart/2005/8/layout/list1"/>
    <dgm:cxn modelId="{5BF7FB0D-2BAB-4F62-97BC-113EB8E97050}" type="presParOf" srcId="{3C93ACB5-B09B-455B-AAD8-A56BB78DB18F}" destId="{E85FD6FA-2C56-4A54-A670-433D8B01910D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111A4A2-4BF2-4080-9264-F191228A8EA8}" type="doc">
      <dgm:prSet loTypeId="urn:microsoft.com/office/officeart/2005/8/layout/vList3#1" loCatId="list" qsTypeId="urn:microsoft.com/office/officeart/2005/8/quickstyle/3d1" qsCatId="3D" csTypeId="urn:microsoft.com/office/officeart/2005/8/colors/accent1_2" csCatId="accent1" phldr="1"/>
      <dgm:spPr/>
    </dgm:pt>
    <dgm:pt modelId="{F3362A40-1F19-480E-941A-01EE56F39806}">
      <dgm:prSet phldrT="[Текст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1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rPr>
            <a:t>II</a:t>
          </a:r>
          <a:r>
            <a:rPr lang="ru-RU" sz="11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rPr>
            <a:t> Международный форум «Судостроение в Арктике»</a:t>
          </a:r>
        </a:p>
      </dgm:t>
    </dgm:pt>
    <dgm:pt modelId="{6E820E2A-E5EA-4292-A893-FD13969A712A}" type="parTrans" cxnId="{7ED92F64-CF59-4C5E-8D5E-0B4F2DDE03E4}">
      <dgm:prSet/>
      <dgm:spPr/>
      <dgm:t>
        <a:bodyPr/>
        <a:lstStyle/>
        <a:p>
          <a:endParaRPr lang="ru-RU"/>
        </a:p>
      </dgm:t>
    </dgm:pt>
    <dgm:pt modelId="{A2B0262D-3E05-47AF-88B9-AA31D751195C}" type="sibTrans" cxnId="{7ED92F64-CF59-4C5E-8D5E-0B4F2DDE03E4}">
      <dgm:prSet/>
      <dgm:spPr/>
      <dgm:t>
        <a:bodyPr/>
        <a:lstStyle/>
        <a:p>
          <a:endParaRPr lang="ru-RU"/>
        </a:p>
      </dgm:t>
    </dgm:pt>
    <dgm:pt modelId="{34BEC9B7-B662-461B-B9B1-96BC80388BEC}">
      <dgm:prSet phldrT="[Текст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</a:rPr>
            <a:t>Подписание соглашений  по вопросу создания научно-образовательного центра мирового уровня «Российская Арктика: новые материалы, технологии и методы исследования»</a:t>
          </a:r>
          <a:endParaRPr lang="ru-RU" b="1" dirty="0">
            <a:solidFill>
              <a:schemeClr val="tx2"/>
            </a:solidFill>
          </a:endParaRPr>
        </a:p>
      </dgm:t>
    </dgm:pt>
    <dgm:pt modelId="{EC570257-3E96-45D1-A211-750192C73A67}" type="parTrans" cxnId="{61845226-A3A2-4C22-BBAB-68BCBD9DA3A7}">
      <dgm:prSet/>
      <dgm:spPr/>
      <dgm:t>
        <a:bodyPr/>
        <a:lstStyle/>
        <a:p>
          <a:endParaRPr lang="ru-RU"/>
        </a:p>
      </dgm:t>
    </dgm:pt>
    <dgm:pt modelId="{124D8441-D9A2-4A1F-8D2B-E48ED9C3C956}" type="sibTrans" cxnId="{61845226-A3A2-4C22-BBAB-68BCBD9DA3A7}">
      <dgm:prSet/>
      <dgm:spPr/>
      <dgm:t>
        <a:bodyPr/>
        <a:lstStyle/>
        <a:p>
          <a:endParaRPr lang="ru-RU"/>
        </a:p>
      </dgm:t>
    </dgm:pt>
    <dgm:pt modelId="{6E08FA36-2D1A-4815-B410-7D960442C750}">
      <dgm:prSet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rPr>
            <a:t>Сессия «Строительство объектов морской техники и гражданского флота для освоения шельфа, прибрежной зоны и побережья»</a:t>
          </a:r>
          <a:endParaRPr lang="ru-RU" dirty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14DE26-568C-4524-A3CB-7B52FCD3EDD4}" type="parTrans" cxnId="{5701F66C-6178-4600-A21A-97C5DE0DBA69}">
      <dgm:prSet/>
      <dgm:spPr/>
      <dgm:t>
        <a:bodyPr/>
        <a:lstStyle/>
        <a:p>
          <a:endParaRPr lang="ru-RU"/>
        </a:p>
      </dgm:t>
    </dgm:pt>
    <dgm:pt modelId="{93450B59-17B7-417A-8894-6BF0C9762544}" type="sibTrans" cxnId="{5701F66C-6178-4600-A21A-97C5DE0DBA69}">
      <dgm:prSet/>
      <dgm:spPr/>
      <dgm:t>
        <a:bodyPr/>
        <a:lstStyle/>
        <a:p>
          <a:endParaRPr lang="ru-RU"/>
        </a:p>
      </dgm:t>
    </dgm:pt>
    <dgm:pt modelId="{CAC0D805-69DD-4185-A51D-84A0C1EEE6BA}" type="pres">
      <dgm:prSet presAssocID="{7111A4A2-4BF2-4080-9264-F191228A8EA8}" presName="linearFlow" presStyleCnt="0">
        <dgm:presLayoutVars>
          <dgm:dir/>
          <dgm:resizeHandles val="exact"/>
        </dgm:presLayoutVars>
      </dgm:prSet>
      <dgm:spPr/>
    </dgm:pt>
    <dgm:pt modelId="{BEED3045-7CCF-434D-BDA2-87FB98D86F16}" type="pres">
      <dgm:prSet presAssocID="{F3362A40-1F19-480E-941A-01EE56F39806}" presName="composite" presStyleCnt="0"/>
      <dgm:spPr/>
    </dgm:pt>
    <dgm:pt modelId="{0FCC92F7-0FBE-40A8-A0E3-AB30C3D24CF2}" type="pres">
      <dgm:prSet presAssocID="{F3362A40-1F19-480E-941A-01EE56F39806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5000" r="-5000"/>
          </a:stretch>
        </a:blipFill>
      </dgm:spPr>
    </dgm:pt>
    <dgm:pt modelId="{E3D65840-877D-4DD2-BF2B-4DAC76757A96}" type="pres">
      <dgm:prSet presAssocID="{F3362A40-1F19-480E-941A-01EE56F39806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DE9044-5CE0-4B81-87E0-141869C6F15F}" type="pres">
      <dgm:prSet presAssocID="{A2B0262D-3E05-47AF-88B9-AA31D751195C}" presName="spacing" presStyleCnt="0"/>
      <dgm:spPr/>
    </dgm:pt>
    <dgm:pt modelId="{D0542AC8-D1D4-4CF1-A44F-C7EF53D4D1B1}" type="pres">
      <dgm:prSet presAssocID="{6E08FA36-2D1A-4815-B410-7D960442C750}" presName="composite" presStyleCnt="0"/>
      <dgm:spPr/>
    </dgm:pt>
    <dgm:pt modelId="{44F19C4E-CE57-47C9-8F94-1B69FB9CA11C}" type="pres">
      <dgm:prSet presAssocID="{6E08FA36-2D1A-4815-B410-7D960442C750}" presName="imgShp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13C595D1-55D1-4A8F-8934-592B07737C0E}" type="pres">
      <dgm:prSet presAssocID="{6E08FA36-2D1A-4815-B410-7D960442C750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19430D-26D8-426E-A591-BF82F398464F}" type="pres">
      <dgm:prSet presAssocID="{93450B59-17B7-417A-8894-6BF0C9762544}" presName="spacing" presStyleCnt="0"/>
      <dgm:spPr/>
    </dgm:pt>
    <dgm:pt modelId="{C8C7124B-67B0-4223-B02F-74C2EB74DD28}" type="pres">
      <dgm:prSet presAssocID="{34BEC9B7-B662-461B-B9B1-96BC80388BEC}" presName="composite" presStyleCnt="0"/>
      <dgm:spPr/>
    </dgm:pt>
    <dgm:pt modelId="{AFE93855-8DF0-4D95-931C-FC4E45AEB79B}" type="pres">
      <dgm:prSet presAssocID="{34BEC9B7-B662-461B-B9B1-96BC80388BEC}" presName="imgShp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10000" r="-10000"/>
          </a:stretch>
        </a:blipFill>
      </dgm:spPr>
    </dgm:pt>
    <dgm:pt modelId="{51230C17-FF12-444B-8543-16814C28A78D}" type="pres">
      <dgm:prSet presAssocID="{34BEC9B7-B662-461B-B9B1-96BC80388BEC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085E0D3-1B02-4295-8112-ABF87A99F6DD}" type="presOf" srcId="{7111A4A2-4BF2-4080-9264-F191228A8EA8}" destId="{CAC0D805-69DD-4185-A51D-84A0C1EEE6BA}" srcOrd="0" destOrd="0" presId="urn:microsoft.com/office/officeart/2005/8/layout/vList3#1"/>
    <dgm:cxn modelId="{B84A1410-DF2A-4780-8F27-DE4CAB9CB63A}" type="presOf" srcId="{F3362A40-1F19-480E-941A-01EE56F39806}" destId="{E3D65840-877D-4DD2-BF2B-4DAC76757A96}" srcOrd="0" destOrd="0" presId="urn:microsoft.com/office/officeart/2005/8/layout/vList3#1"/>
    <dgm:cxn modelId="{7ED92F64-CF59-4C5E-8D5E-0B4F2DDE03E4}" srcId="{7111A4A2-4BF2-4080-9264-F191228A8EA8}" destId="{F3362A40-1F19-480E-941A-01EE56F39806}" srcOrd="0" destOrd="0" parTransId="{6E820E2A-E5EA-4292-A893-FD13969A712A}" sibTransId="{A2B0262D-3E05-47AF-88B9-AA31D751195C}"/>
    <dgm:cxn modelId="{5701F66C-6178-4600-A21A-97C5DE0DBA69}" srcId="{7111A4A2-4BF2-4080-9264-F191228A8EA8}" destId="{6E08FA36-2D1A-4815-B410-7D960442C750}" srcOrd="1" destOrd="0" parTransId="{3F14DE26-568C-4524-A3CB-7B52FCD3EDD4}" sibTransId="{93450B59-17B7-417A-8894-6BF0C9762544}"/>
    <dgm:cxn modelId="{1B08FA43-032D-4CAE-9A0A-AA96417FC5FD}" type="presOf" srcId="{6E08FA36-2D1A-4815-B410-7D960442C750}" destId="{13C595D1-55D1-4A8F-8934-592B07737C0E}" srcOrd="0" destOrd="0" presId="urn:microsoft.com/office/officeart/2005/8/layout/vList3#1"/>
    <dgm:cxn modelId="{61845226-A3A2-4C22-BBAB-68BCBD9DA3A7}" srcId="{7111A4A2-4BF2-4080-9264-F191228A8EA8}" destId="{34BEC9B7-B662-461B-B9B1-96BC80388BEC}" srcOrd="2" destOrd="0" parTransId="{EC570257-3E96-45D1-A211-750192C73A67}" sibTransId="{124D8441-D9A2-4A1F-8D2B-E48ED9C3C956}"/>
    <dgm:cxn modelId="{BD483939-5589-471C-B5A1-641FAAC0FCAE}" type="presOf" srcId="{34BEC9B7-B662-461B-B9B1-96BC80388BEC}" destId="{51230C17-FF12-444B-8543-16814C28A78D}" srcOrd="0" destOrd="0" presId="urn:microsoft.com/office/officeart/2005/8/layout/vList3#1"/>
    <dgm:cxn modelId="{52BEFDA9-553B-4458-994E-38FC72193F11}" type="presParOf" srcId="{CAC0D805-69DD-4185-A51D-84A0C1EEE6BA}" destId="{BEED3045-7CCF-434D-BDA2-87FB98D86F16}" srcOrd="0" destOrd="0" presId="urn:microsoft.com/office/officeart/2005/8/layout/vList3#1"/>
    <dgm:cxn modelId="{05ACB90E-E778-4C26-81CF-01EB1B6670BF}" type="presParOf" srcId="{BEED3045-7CCF-434D-BDA2-87FB98D86F16}" destId="{0FCC92F7-0FBE-40A8-A0E3-AB30C3D24CF2}" srcOrd="0" destOrd="0" presId="urn:microsoft.com/office/officeart/2005/8/layout/vList3#1"/>
    <dgm:cxn modelId="{0C9D3537-3EF0-440F-9BF7-240AFBE53A38}" type="presParOf" srcId="{BEED3045-7CCF-434D-BDA2-87FB98D86F16}" destId="{E3D65840-877D-4DD2-BF2B-4DAC76757A96}" srcOrd="1" destOrd="0" presId="urn:microsoft.com/office/officeart/2005/8/layout/vList3#1"/>
    <dgm:cxn modelId="{78C6B3D5-10AA-4164-8A1E-0161CFDAB18E}" type="presParOf" srcId="{CAC0D805-69DD-4185-A51D-84A0C1EEE6BA}" destId="{58DE9044-5CE0-4B81-87E0-141869C6F15F}" srcOrd="1" destOrd="0" presId="urn:microsoft.com/office/officeart/2005/8/layout/vList3#1"/>
    <dgm:cxn modelId="{75640994-E888-45A7-91EA-C94ACBC6AA9D}" type="presParOf" srcId="{CAC0D805-69DD-4185-A51D-84A0C1EEE6BA}" destId="{D0542AC8-D1D4-4CF1-A44F-C7EF53D4D1B1}" srcOrd="2" destOrd="0" presId="urn:microsoft.com/office/officeart/2005/8/layout/vList3#1"/>
    <dgm:cxn modelId="{BB47329C-B91F-4FF8-9C4F-5EF9063886A3}" type="presParOf" srcId="{D0542AC8-D1D4-4CF1-A44F-C7EF53D4D1B1}" destId="{44F19C4E-CE57-47C9-8F94-1B69FB9CA11C}" srcOrd="0" destOrd="0" presId="urn:microsoft.com/office/officeart/2005/8/layout/vList3#1"/>
    <dgm:cxn modelId="{58C0F766-A0A8-43CB-99FB-B91E2E1BE643}" type="presParOf" srcId="{D0542AC8-D1D4-4CF1-A44F-C7EF53D4D1B1}" destId="{13C595D1-55D1-4A8F-8934-592B07737C0E}" srcOrd="1" destOrd="0" presId="urn:microsoft.com/office/officeart/2005/8/layout/vList3#1"/>
    <dgm:cxn modelId="{45BD1E30-4278-4F5D-85EF-A84844A01446}" type="presParOf" srcId="{CAC0D805-69DD-4185-A51D-84A0C1EEE6BA}" destId="{FE19430D-26D8-426E-A591-BF82F398464F}" srcOrd="3" destOrd="0" presId="urn:microsoft.com/office/officeart/2005/8/layout/vList3#1"/>
    <dgm:cxn modelId="{D2AC84B1-974C-48D5-A03B-CE0AE473F0B4}" type="presParOf" srcId="{CAC0D805-69DD-4185-A51D-84A0C1EEE6BA}" destId="{C8C7124B-67B0-4223-B02F-74C2EB74DD28}" srcOrd="4" destOrd="0" presId="urn:microsoft.com/office/officeart/2005/8/layout/vList3#1"/>
    <dgm:cxn modelId="{7319564D-0F21-48AD-82BF-563F6544DF9A}" type="presParOf" srcId="{C8C7124B-67B0-4223-B02F-74C2EB74DD28}" destId="{AFE93855-8DF0-4D95-931C-FC4E45AEB79B}" srcOrd="0" destOrd="0" presId="urn:microsoft.com/office/officeart/2005/8/layout/vList3#1"/>
    <dgm:cxn modelId="{7F6F4E39-F232-474A-8E8D-A3FE4FB2C652}" type="presParOf" srcId="{C8C7124B-67B0-4223-B02F-74C2EB74DD28}" destId="{51230C17-FF12-444B-8543-16814C28A78D}" srcOrd="1" destOrd="0" presId="urn:microsoft.com/office/officeart/2005/8/layout/vList3#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image" Target="../media/image21.png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image" Target="../media/image57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5"/>
            <a:ext cx="2949786" cy="496968"/>
          </a:xfrm>
          <a:prstGeom prst="rect">
            <a:avLst/>
          </a:prstGeom>
        </p:spPr>
        <p:txBody>
          <a:bodyPr vert="horz" lIns="91530" tIns="45766" rIns="91530" bIns="4576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846" y="5"/>
            <a:ext cx="2949786" cy="496968"/>
          </a:xfrm>
          <a:prstGeom prst="rect">
            <a:avLst/>
          </a:prstGeom>
        </p:spPr>
        <p:txBody>
          <a:bodyPr vert="horz" lIns="91530" tIns="45766" rIns="91530" bIns="4576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79038A2-AB11-4D0B-8CA1-C95E427AE36D}" type="datetimeFigureOut">
              <a:rPr lang="ru-RU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7713"/>
            <a:ext cx="4965700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30" tIns="45766" rIns="91530" bIns="4576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721" y="4721189"/>
            <a:ext cx="5445760" cy="4472703"/>
          </a:xfrm>
          <a:prstGeom prst="rect">
            <a:avLst/>
          </a:prstGeom>
        </p:spPr>
        <p:txBody>
          <a:bodyPr vert="horz" lIns="91530" tIns="45766" rIns="91530" bIns="45766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9" y="9440647"/>
            <a:ext cx="2949786" cy="496968"/>
          </a:xfrm>
          <a:prstGeom prst="rect">
            <a:avLst/>
          </a:prstGeom>
        </p:spPr>
        <p:txBody>
          <a:bodyPr vert="horz" lIns="91530" tIns="45766" rIns="91530" bIns="4576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846" y="9440647"/>
            <a:ext cx="2949786" cy="496968"/>
          </a:xfrm>
          <a:prstGeom prst="rect">
            <a:avLst/>
          </a:prstGeom>
        </p:spPr>
        <p:txBody>
          <a:bodyPr vert="horz" lIns="91530" tIns="45766" rIns="91530" bIns="4576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78BADBED-FBF2-42AF-9890-305FCE6B4B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862883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BADBED-FBF2-42AF-9890-305FCE6B4BEB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30113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408445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0721" y="4721191"/>
            <a:ext cx="5445760" cy="12721803"/>
          </a:xfrm>
        </p:spPr>
        <p:txBody>
          <a:bodyPr>
            <a:noAutofit/>
          </a:bodyPr>
          <a:lstStyle/>
          <a:p>
            <a:pPr indent="457700" algn="just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 результате реализации мероприятий подпрограммы №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5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иняты постановления об установлении долгосрочных параметров регулирования и долгосрочных тарифов в отношении всех организаций, услуги которых подлежат долгосрочному тарифному регулированию, при этом экономия средств потребителей составила 13,5 млрд. рублей.</a:t>
            </a:r>
          </a:p>
          <a:p>
            <a:pPr indent="457700">
              <a:spcBef>
                <a:spcPts val="0"/>
              </a:spcBef>
              <a:spcAft>
                <a:spcPts val="0"/>
              </a:spcAft>
            </a:pPr>
            <a:r>
              <a:rPr lang="ru-RU" dirty="0"/>
              <a:t>Проведено 10 проверок (в </a:t>
            </a:r>
            <a:r>
              <a:rPr lang="ru-RU" dirty="0" err="1"/>
              <a:t>т.ч</a:t>
            </a:r>
            <a:r>
              <a:rPr lang="ru-RU" dirty="0"/>
              <a:t>. 3 плановые) в отношении регулируемых организаций, по результатам которых выявлено 21 нарушени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наложено штрафов на сумму более 300 тыс. рублей.</a:t>
            </a:r>
          </a:p>
          <a:p>
            <a:pPr indent="457700" algn="just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 2018 году агентством будет продолжена реализация модели долгосрочного тарифного регулирования с соблюдением баланса экономических интересов поставщиков и потребителей и недопущением роста вносимой гражданами платы за коммунальные услуги свыше предельных значений.</a:t>
            </a:r>
          </a:p>
          <a:p>
            <a:pPr indent="457700" algn="just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Особое внимание будет уделено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indent="457700" algn="just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формированию единого тарифа на услугу регионального оператора по обращению с твердыми коммунальными отходами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57700" algn="just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исполнению мероприятий «дорожной карты» с целью привлечения инвестиций в сферу ЖКХ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indent="457700" algn="just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офилактике, выявлению и пресечению нарушений соблюдения требований стандартов раскрытия информации субъектами регулирования.</a:t>
            </a:r>
          </a:p>
          <a:p>
            <a:pPr indent="457700" algn="just">
              <a:spcBef>
                <a:spcPts val="0"/>
              </a:spcBef>
              <a:spcAft>
                <a:spcPts val="0"/>
              </a:spcAft>
            </a:pPr>
            <a:endParaRPr lang="ru-RU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57700" algn="just">
              <a:spcBef>
                <a:spcPts val="0"/>
              </a:spcBef>
              <a:spcAft>
                <a:spcPts val="0"/>
              </a:spcAft>
            </a:pPr>
            <a:r>
              <a:rPr lang="ru-RU" sz="1100" i="1" dirty="0" err="1">
                <a:latin typeface="Arial" panose="020B0604020202020204" pitchFamily="34" charset="0"/>
                <a:cs typeface="Arial" panose="020B0604020202020204" pitchFamily="34" charset="0"/>
              </a:rPr>
              <a:t>Справочно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indent="457700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кономия средств потребителей 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определяется как разность между расходами, заявленными регулируемыми организациями для включения в тариф, и расходами, признанными экономически обоснованными и учтенными при расчете тарифов. То есть, это сумма, на которую агентство уменьшило затраты регулируемых организаций при принятии тарифных решений.</a:t>
            </a:r>
          </a:p>
          <a:p>
            <a:pPr indent="457700" algn="just">
              <a:spcBef>
                <a:spcPts val="0"/>
              </a:spcBef>
              <a:spcAft>
                <a:spcPts val="0"/>
              </a:spcAft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BADBED-FBF2-42AF-9890-305FCE6B4BEB}" type="slidenum">
              <a:rPr lang="ru-RU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09696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BADBED-FBF2-42AF-9890-305FCE6B4BE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89456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1992" y="4728740"/>
            <a:ext cx="5455934" cy="12742148"/>
          </a:xfrm>
        </p:spPr>
        <p:txBody>
          <a:bodyPr>
            <a:no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BADBED-FBF2-42AF-9890-305FCE6B4BEB}" type="slidenum">
              <a:rPr lang="ru-RU">
                <a:solidFill>
                  <a:prstClr val="black"/>
                </a:solidFill>
              </a:rPr>
              <a:pPr>
                <a:defRPr/>
              </a:pPr>
              <a:t>2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739723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BADBED-FBF2-42AF-9890-305FCE6B4BEB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763089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0721" y="4721190"/>
            <a:ext cx="5445760" cy="10486699"/>
          </a:xfrm>
        </p:spPr>
        <p:txBody>
          <a:bodyPr>
            <a:noAutofit/>
          </a:bodyPr>
          <a:lstStyle/>
          <a:p>
            <a:pPr indent="457700" algn="just">
              <a:lnSpc>
                <a:spcPct val="120000"/>
              </a:lnSpc>
              <a:spcBef>
                <a:spcPts val="0"/>
              </a:spcBef>
            </a:pPr>
            <a:endParaRPr lang="ru-RU" altLang="ru-RU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BADBED-FBF2-42AF-9890-305FCE6B4BEB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363510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769" y="4715155"/>
            <a:ext cx="5438140" cy="9033140"/>
          </a:xfrm>
        </p:spPr>
        <p:txBody>
          <a:bodyPr>
            <a:noAutofit/>
          </a:bodyPr>
          <a:lstStyle/>
          <a:p>
            <a:endParaRPr lang="ru-RU" sz="1100" dirty="0">
              <a:cs typeface="Arabic Typesetting" panose="03020402040406030203" pitchFamily="66" charset="-78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BADBED-FBF2-42AF-9890-305FCE6B4BEB}" type="slidenum">
              <a:rPr lang="ru-RU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964041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BADBED-FBF2-42AF-9890-305FCE6B4BEB}" type="slidenum">
              <a:rPr lang="ru-RU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71410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BADBED-FBF2-42AF-9890-305FCE6B4BEB}" type="slidenum">
              <a:rPr lang="ru-RU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8156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smtClean="0"/>
          </a:p>
        </p:txBody>
      </p:sp>
      <p:sp>
        <p:nvSpPr>
          <p:cNvPr id="6148" name="Slide Number Placeholder 3"/>
          <p:cNvSpPr txBox="1">
            <a:spLocks noGrp="1"/>
          </p:cNvSpPr>
          <p:nvPr/>
        </p:nvSpPr>
        <p:spPr bwMode="auto">
          <a:xfrm>
            <a:off x="3851276" y="9428163"/>
            <a:ext cx="2943225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4" tIns="45702" rIns="91404" bIns="45702" anchor="b"/>
          <a:lstStyle>
            <a:lvl1pPr defTabSz="8969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69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69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69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693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69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69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69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69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7C4EAF5-214B-4E02-B7C3-5D2D24827904}" type="slidenum">
              <a:rPr lang="ru-RU" altLang="ru-RU"/>
              <a:pPr algn="r" eaLnBrk="1" hangingPunct="1">
                <a:spcBef>
                  <a:spcPct val="0"/>
                </a:spcBef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038050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xfrm>
            <a:off x="615951" y="3289301"/>
            <a:ext cx="8677275" cy="297180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 eaLnBrk="1" hangingPunct="1"/>
            <a:endParaRPr lang="ru-RU" altLang="ru-RU"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38543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Заметки 2"/>
          <p:cNvSpPr>
            <a:spLocks noGrp="1"/>
          </p:cNvSpPr>
          <p:nvPr>
            <p:ph type="body" idx="1"/>
          </p:nvPr>
        </p:nvSpPr>
        <p:spPr bwMode="auto">
          <a:xfrm>
            <a:off x="615950" y="3294064"/>
            <a:ext cx="8712200" cy="336867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ru-RU" altLang="ru-RU" sz="140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</a:p>
        </p:txBody>
      </p:sp>
    </p:spTree>
    <p:extLst>
      <p:ext uri="{BB962C8B-B14F-4D97-AF65-F5344CB8AC3E}">
        <p14:creationId xmlns:p14="http://schemas.microsoft.com/office/powerpoint/2010/main" xmlns="" val="6769127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 bwMode="auto">
          <a:xfrm>
            <a:off x="615950" y="3294064"/>
            <a:ext cx="8712200" cy="336867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ru-RU" altLang="ru-RU" sz="140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</a:p>
        </p:txBody>
      </p:sp>
    </p:spTree>
    <p:extLst>
      <p:ext uri="{BB962C8B-B14F-4D97-AF65-F5344CB8AC3E}">
        <p14:creationId xmlns:p14="http://schemas.microsoft.com/office/powerpoint/2010/main" xmlns="" val="4150757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2C8D-1AAE-41E9-AE4E-E9B829911E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74209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D2503-EB3D-4576-803E-B21AF6D0CBC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45992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2923470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8285858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2258009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2345759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112096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9405433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104006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8306316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133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28692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F172A-B817-40FD-BCD1-C5D62E01B6A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117650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2944040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6322990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139537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2485048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6344972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421435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3102414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6415172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750606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10305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7646359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6346818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950742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642727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841587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5971320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4969719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990468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4441720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898592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781981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829363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8939220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264791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3188525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310527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7578659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945948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3935994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2785676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136838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807803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122881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7261004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0529805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2060109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8317020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4288914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30256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6118358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8110922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986916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366923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4543359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1029098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8531776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7633247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9759964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7569840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7238873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751262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087222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7537347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211365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5588774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8695403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6502989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4135897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2029259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2720589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9001950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6674983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2889273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8851775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024862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0200714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4386870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2596085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9582932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8546432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9987422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6468493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8042484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1852771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8798045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093959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8274166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6007980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8273526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7185245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0659839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3149131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0962737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8324770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352251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3123902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111834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149301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5715977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0396917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5807538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575250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07310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8375405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8925564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9638557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9461954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15123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A4262-06BB-477C-B0AD-A4FC184461B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65168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4396013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5903126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5653481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268314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4601586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332290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4487293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8018161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9208336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4103701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25207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0623171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7032686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3055645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6669912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1436632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1044136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145699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1284539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4868844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2244162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344971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9067142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3010927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37FD5F-8464-4206-896B-19BD04606A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399611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DB0FCF-51D4-46F7-9DF4-D7B205C4E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5022277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27FED-999B-49A8-9CA4-154E0DC3617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276960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3CE286-40E5-4F15-BDC1-50F1E661F82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78850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1D824-230F-489F-BFD6-34EE8BD0BBF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190417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BF3AF9-42C4-44EC-93A3-0BC17BC4A38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210052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FEA42D-9E77-4081-B1BD-148E964524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608811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34DB67-8C39-4009-A59F-7E56974C6E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734058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78136-C0FA-40AD-A078-B27D90A5D7C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9078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FCF952-3F98-46E9-9B8A-E17EB32267B1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DA7DBA-DC86-4569-87D2-FC40634C4F8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6513766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00D04-95E2-4F40-B8E0-C0A8E2DEEC7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7599755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F913-4F1F-4B21-879A-910C278F531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4303521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37FD5F-8464-4206-896B-19BD04606A42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5625427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DB0FCF-51D4-46F7-9DF4-D7B205C4EA34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728799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2527FED-999B-49A8-9CA4-154E0DC36170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274007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A3CE286-40E5-4F15-BDC1-50F1E661F825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673589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8C1D824-230F-489F-BFD6-34EE8BD0BBF5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547154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CBF3AF9-42C4-44EC-93A3-0BC17BC4A383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870858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7FEA42D-9E77-4081-B1BD-148E9645247F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321789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D34DB67-8C39-4009-A59F-7E56974C6ED6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87055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43C5EB-D666-4486-873D-CAA063B040B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400BFA-CC54-453B-9293-25B489D1AE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3898168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8A78136-C0FA-40AD-A078-B27D90A5D7CB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724475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6600D04-95E2-4F40-B8E0-C0A8E2DEEC72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690106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FFEF913-4F1F-4B21-879A-910C278F5312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824546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938EC8-4497-4FE5-80AA-60719B110AB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7770B8-716D-45AA-B2A4-6804643B9C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764160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D5618B-AB6C-4AB5-8F29-DCFBE64C2EF9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DCCB4-2378-491B-AD88-CCE782A194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841923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481A5C-A478-48B0-98F3-C69C6E66A16D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B7945B-BAC8-4942-8C20-96E0BC6A3FD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312497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9FF85-1D4B-4B3B-87D4-1B7B42650CBE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C93B31-D3A3-4E36-B8B7-06B2B4844D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828852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304AD-457B-48E1-8767-41B417DEFDB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A8DDA-8B33-4F40-AE93-0E7F344C8E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3594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6CC1B-1DE5-42C3-AC8D-496653793BB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63273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944FD3-B011-4D76-B671-D431D9000C8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91487-9983-48FC-A94D-8A5F94CA47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231157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437E98-2093-4587-9422-BCDE39301DDC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4B27A7-2A8E-45F8-94F5-A534D111AB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270033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F79ECF-9BD0-4A2E-8C09-653E87CE67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24CBAD-EF1A-4E09-B9B9-725B988739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251397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657353-2F71-4B07-B4D2-50D8686ADA0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11286E-A3E3-40F5-BCF0-10CF0500B2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745696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202274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71217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909169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277849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618560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29259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66F4C-A625-4122-82C3-83827DBB92C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091833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231636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674364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060178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985416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690599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651703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517696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425320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27915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16803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560DF-8C87-450F-939B-026B9BBD6F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01680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610564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69298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833557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809445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839495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7761230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779048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857438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863123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765320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F01107-0A61-4A76-AE01-6206ED14591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99989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06695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975596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507858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252939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55241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093949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9680874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996358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590573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792438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44C9D1-6F00-4FD9-8346-155ABA3FD13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209357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774709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76977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228033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612829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861413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811756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5164256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3441485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433897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996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26855-DD56-4A53-A12F-E9CE3E8260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64223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345968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595515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739643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2851431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461189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05379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646308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3067516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3149525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4EA05-49DF-431E-B0A8-A4581D7F2A48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044C2-B6CA-4140-BFCC-3FEF04CEAB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428060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7F7265-9A0E-4576-9BD7-AAC4A4D466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0959308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362A2-257D-4EE1-B02C-F13BCC7D9B60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A5984-F5F3-4B5C-9B09-8C1C11EDC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7038926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5F0BF-FB35-4E83-B9FF-2869B759E31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90F5-620F-479B-B54C-AE1DA91BB5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5881709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6939D-2C93-48CD-9FA3-DC254BBDA12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E81A2-72F7-4884-ADEC-D0B9B0B183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5091809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56E31-1D6B-4F49-9C4C-32ADDFFA93E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5DF11-7E74-4EF6-AD17-6721F49455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4620156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DF0DC-412D-41F4-A9B9-0D8EAB12D58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35C32-9E05-445C-93ED-EE7AC5B9B0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4518143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A6AA3-0037-4161-A7E6-2DE04CFE32CA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FB14-22FF-48E8-9B94-37C36C2F6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216966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59817-C1BD-44BE-A9ED-CAD42317F1C6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905479-F81E-409F-A927-127850B30F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385982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551B3-CF9F-4996-9041-A761CC7041FB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DD-56BA-45BF-8CAB-0DE3787825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992578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7C664-80A4-475D-BDF1-1556DF55DD33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83D19-9FEA-4A49-9F57-EC98A95530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033178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F2AB-8EC9-40BB-942E-FAF0D11FE03F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9FD2C-D71C-4915-B77A-7E5E9E607C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58369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34.xml"/><Relationship Id="rId7" Type="http://schemas.openxmlformats.org/officeDocument/2006/relationships/slideLayout" Target="../slideLayouts/slideLayout238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37.xml"/><Relationship Id="rId11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36.xml"/><Relationship Id="rId10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35.xml"/><Relationship Id="rId9" Type="http://schemas.openxmlformats.org/officeDocument/2006/relationships/slideLayout" Target="../slideLayouts/slideLayout2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 shadeToTitle="1"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ABF6379-B92A-450A-9342-4B835CDA0402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7993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42228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0888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04630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0478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15864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86876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  <p:sldLayoutId id="2147484006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52784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23896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  <p:sldLayoutId id="2147484028" r:id="rId9"/>
    <p:sldLayoutId id="2147484029" r:id="rId10"/>
    <p:sldLayoutId id="2147484030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87498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39494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  <p:sldLayoutId id="2147484054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77235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5846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 shadeToTitle="1"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7BA955-F5E2-4433-8A49-27481FBFF744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0015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099" r:id="rId8"/>
    <p:sldLayoutId id="2147484100" r:id="rId9"/>
    <p:sldLayoutId id="2147484101" r:id="rId10"/>
    <p:sldLayoutId id="214748410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 shadeToTitle="1"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7BA955-F5E2-4433-8A49-27481FBFF744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06.2020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CBB313D-AE53-48B2-B3BC-1125487DD078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697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05" r:id="rId2"/>
    <p:sldLayoutId id="2147484106" r:id="rId3"/>
    <p:sldLayoutId id="2147484107" r:id="rId4"/>
    <p:sldLayoutId id="2147484108" r:id="rId5"/>
    <p:sldLayoutId id="2147484109" r:id="rId6"/>
    <p:sldLayoutId id="2147484110" r:id="rId7"/>
    <p:sldLayoutId id="2147484111" r:id="rId8"/>
    <p:sldLayoutId id="2147484112" r:id="rId9"/>
    <p:sldLayoutId id="2147484113" r:id="rId10"/>
    <p:sldLayoutId id="2147484114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753539A-2679-4C96-BBE6-9E59969ABCCD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5E07F0E-312A-4279-BFD3-45EB1C224B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76140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30740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8458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9839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31011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878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08886D5-0E05-4ABD-BDF3-69D0053CC1A2}" type="datetime1">
              <a:rPr lang="ru-RU" smtClean="0"/>
              <a:pPr>
                <a:defRPr/>
              </a:pPr>
              <a:t>23.06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621CAE0-CB95-4974-8189-8D45589672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00028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46.xml"/><Relationship Id="rId4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8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3.jpeg"/><Relationship Id="rId4" Type="http://schemas.openxmlformats.org/officeDocument/2006/relationships/image" Target="../media/image13.w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24.jpeg"/><Relationship Id="rId7" Type="http://schemas.openxmlformats.org/officeDocument/2006/relationships/image" Target="../media/image28.emf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27.emf"/><Relationship Id="rId5" Type="http://schemas.openxmlformats.org/officeDocument/2006/relationships/image" Target="../media/image26.emf"/><Relationship Id="rId4" Type="http://schemas.openxmlformats.org/officeDocument/2006/relationships/image" Target="../media/image25.png"/><Relationship Id="rId9" Type="http://schemas.openxmlformats.org/officeDocument/2006/relationships/image" Target="../media/image17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image" Target="../media/image30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image" Target="../media/image13.wmf"/><Relationship Id="rId16" Type="http://schemas.openxmlformats.org/officeDocument/2006/relationships/image" Target="../media/image42.pn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4" Type="http://schemas.openxmlformats.org/officeDocument/2006/relationships/image" Target="../media/image29.jpeg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2.xml"/><Relationship Id="rId5" Type="http://schemas.openxmlformats.org/officeDocument/2006/relationships/image" Target="../media/image45.jpeg"/><Relationship Id="rId4" Type="http://schemas.openxmlformats.org/officeDocument/2006/relationships/image" Target="../media/image44.tif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1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145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156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17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3.wmf"/><Relationship Id="rId4" Type="http://schemas.openxmlformats.org/officeDocument/2006/relationships/oleObject" Target="../embeddings/oleObject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7" Type="http://schemas.openxmlformats.org/officeDocument/2006/relationships/image" Target="../media/image29.jpeg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181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13" Type="http://schemas.openxmlformats.org/officeDocument/2006/relationships/image" Target="../media/image13.wmf"/><Relationship Id="rId3" Type="http://schemas.openxmlformats.org/officeDocument/2006/relationships/image" Target="../media/image65.jpeg"/><Relationship Id="rId7" Type="http://schemas.openxmlformats.org/officeDocument/2006/relationships/image" Target="../media/image69.tiff"/><Relationship Id="rId12" Type="http://schemas.openxmlformats.org/officeDocument/2006/relationships/image" Target="../media/image74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94.xml"/><Relationship Id="rId6" Type="http://schemas.openxmlformats.org/officeDocument/2006/relationships/image" Target="../media/image68.jpeg"/><Relationship Id="rId11" Type="http://schemas.openxmlformats.org/officeDocument/2006/relationships/image" Target="../media/image73.jpeg"/><Relationship Id="rId5" Type="http://schemas.openxmlformats.org/officeDocument/2006/relationships/image" Target="../media/image67.jpeg"/><Relationship Id="rId15" Type="http://schemas.openxmlformats.org/officeDocument/2006/relationships/image" Target="../media/image76.png"/><Relationship Id="rId10" Type="http://schemas.openxmlformats.org/officeDocument/2006/relationships/image" Target="../media/image72.jpeg"/><Relationship Id="rId4" Type="http://schemas.openxmlformats.org/officeDocument/2006/relationships/image" Target="../media/image66.jpeg"/><Relationship Id="rId9" Type="http://schemas.openxmlformats.org/officeDocument/2006/relationships/image" Target="../media/image71.jpeg"/><Relationship Id="rId14" Type="http://schemas.openxmlformats.org/officeDocument/2006/relationships/image" Target="../media/image7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5.xml"/><Relationship Id="rId6" Type="http://schemas.openxmlformats.org/officeDocument/2006/relationships/image" Target="../media/image13.wmf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85.jpeg"/><Relationship Id="rId3" Type="http://schemas.openxmlformats.org/officeDocument/2006/relationships/image" Target="../media/image13.wmf"/><Relationship Id="rId7" Type="http://schemas.openxmlformats.org/officeDocument/2006/relationships/diagramColors" Target="../diagrams/colors1.xml"/><Relationship Id="rId12" Type="http://schemas.openxmlformats.org/officeDocument/2006/relationships/image" Target="../media/image84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16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83.jpeg"/><Relationship Id="rId5" Type="http://schemas.openxmlformats.org/officeDocument/2006/relationships/diagramLayout" Target="../diagrams/layout1.xml"/><Relationship Id="rId10" Type="http://schemas.openxmlformats.org/officeDocument/2006/relationships/image" Target="../media/image82.jpeg"/><Relationship Id="rId4" Type="http://schemas.openxmlformats.org/officeDocument/2006/relationships/diagramData" Target="../diagrams/data1.xml"/><Relationship Id="rId9" Type="http://schemas.openxmlformats.org/officeDocument/2006/relationships/image" Target="../media/image81.png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86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10" Type="http://schemas.openxmlformats.org/officeDocument/2006/relationships/image" Target="../media/image13.wmf"/><Relationship Id="rId4" Type="http://schemas.openxmlformats.org/officeDocument/2006/relationships/diagramData" Target="../diagrams/data2.xml"/><Relationship Id="rId9" Type="http://schemas.openxmlformats.org/officeDocument/2006/relationships/image" Target="../media/image9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2.xml"/><Relationship Id="rId4" Type="http://schemas.openxmlformats.org/officeDocument/2006/relationships/image" Target="../media/image92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jpeg"/><Relationship Id="rId4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2922796" y="2259903"/>
            <a:ext cx="5893305" cy="28473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30" name="Picture 39" descr="Знак на въезде в город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5769" y="3166726"/>
            <a:ext cx="2643996" cy="1583853"/>
          </a:xfrm>
          <a:prstGeom prst="rect">
            <a:avLst/>
          </a:prstGeom>
          <a:noFill/>
          <a:ln w="4445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 Box 8"/>
          <p:cNvSpPr txBox="1">
            <a:spLocks noChangeArrowheads="1"/>
          </p:cNvSpPr>
          <p:nvPr/>
        </p:nvSpPr>
        <p:spPr bwMode="auto">
          <a:xfrm>
            <a:off x="2847442" y="2306516"/>
            <a:ext cx="5968660" cy="34778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Информация Правительства </a:t>
            </a:r>
            <a:br>
              <a:rPr lang="ru-RU" sz="2000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Архангельской области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о реализации подпрограмм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«Формирование благоприятной среды для развития инвестиционной деятельности», «Развитие субъектов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м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алого и среднего </a:t>
            </a:r>
            <a:r>
              <a:rPr lang="ru-RU" b="1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предпринимательства </a:t>
            </a:r>
            <a:endParaRPr lang="ru-RU" b="1" dirty="0" smtClean="0">
              <a:solidFill>
                <a:srgbClr val="002060"/>
              </a:solidFill>
              <a:latin typeface="+mn-lt"/>
              <a:cs typeface="Times New Roman" panose="02020603050405020304" pitchFamily="18" charset="0"/>
            </a:endParaRP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в </a:t>
            </a:r>
            <a:r>
              <a:rPr lang="ru-RU" b="1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Архангельской 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области» и «</a:t>
            </a:r>
            <a:r>
              <a:rPr lang="ru-RU" b="1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Развитие промышленности </a:t>
            </a:r>
            <a:endParaRPr lang="ru-RU" b="1" dirty="0" smtClean="0">
              <a:solidFill>
                <a:srgbClr val="002060"/>
              </a:solidFill>
              <a:latin typeface="+mn-lt"/>
              <a:cs typeface="Times New Roman" panose="02020603050405020304" pitchFamily="18" charset="0"/>
            </a:endParaRP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в </a:t>
            </a:r>
            <a:r>
              <a:rPr lang="ru-RU" b="1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Архангельской 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области»</a:t>
            </a:r>
            <a:endParaRPr lang="ru-RU" b="1" dirty="0">
              <a:solidFill>
                <a:srgbClr val="002060"/>
              </a:solidFill>
              <a:latin typeface="+mn-lt"/>
              <a:cs typeface="Times New Roman" panose="02020603050405020304" pitchFamily="18" charset="0"/>
            </a:endParaRP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государственной программы</a:t>
            </a:r>
            <a:r>
              <a:rPr lang="ru-RU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Архангельской </a:t>
            </a:r>
            <a:r>
              <a:rPr lang="ru-RU" b="1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области </a:t>
            </a:r>
            <a:endParaRPr lang="ru-RU" b="1" dirty="0" smtClean="0">
              <a:solidFill>
                <a:srgbClr val="002060"/>
              </a:solidFill>
              <a:latin typeface="+mn-lt"/>
              <a:cs typeface="Times New Roman" panose="02020603050405020304" pitchFamily="18" charset="0"/>
            </a:endParaRPr>
          </a:p>
          <a:p>
            <a:pPr algn="ctr"/>
            <a:r>
              <a:rPr lang="ru-RU" b="1" dirty="0" smtClean="0">
                <a:solidFill>
                  <a:srgbClr val="960000"/>
                </a:solidFill>
                <a:latin typeface="+mn-lt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960000"/>
                </a:solidFill>
                <a:latin typeface="+mn-lt"/>
                <a:cs typeface="Times New Roman" panose="02020603050405020304" pitchFamily="18" charset="0"/>
              </a:rPr>
              <a:t>Экономическое развитие </a:t>
            </a:r>
            <a:r>
              <a:rPr lang="ru-RU" b="1" dirty="0" smtClean="0">
                <a:solidFill>
                  <a:srgbClr val="960000"/>
                </a:solidFill>
                <a:latin typeface="+mn-lt"/>
                <a:cs typeface="Times New Roman" panose="02020603050405020304" pitchFamily="18" charset="0"/>
              </a:rPr>
              <a:t>и </a:t>
            </a:r>
            <a:r>
              <a:rPr lang="ru-RU" b="1" dirty="0">
                <a:solidFill>
                  <a:srgbClr val="960000"/>
                </a:solidFill>
                <a:latin typeface="+mn-lt"/>
                <a:cs typeface="Times New Roman" panose="02020603050405020304" pitchFamily="18" charset="0"/>
              </a:rPr>
              <a:t>инвестиционная </a:t>
            </a:r>
            <a:r>
              <a:rPr lang="ru-RU" b="1" dirty="0" smtClean="0">
                <a:solidFill>
                  <a:srgbClr val="960000"/>
                </a:solidFill>
                <a:latin typeface="+mn-lt"/>
                <a:cs typeface="Times New Roman" panose="02020603050405020304" pitchFamily="18" charset="0"/>
              </a:rPr>
              <a:t>деятельность 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в </a:t>
            </a:r>
            <a:r>
              <a:rPr lang="ru-RU" b="1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Архангельской 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области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(2014 – 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2024 </a:t>
            </a:r>
            <a:r>
              <a:rPr lang="ru-RU" b="1" dirty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годы</a:t>
            </a:r>
            <a:r>
              <a:rPr lang="ru-RU" b="1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)»</a:t>
            </a:r>
            <a:endParaRPr lang="ru-RU" b="1" spc="40" dirty="0">
              <a:solidFill>
                <a:srgbClr val="002060"/>
              </a:solidFill>
              <a:latin typeface="+mn-lt"/>
              <a:cs typeface="Times New Roman" panose="02020603050405020304" pitchFamily="18" charset="0"/>
            </a:endParaRPr>
          </a:p>
        </p:txBody>
      </p:sp>
      <p:grpSp>
        <p:nvGrpSpPr>
          <p:cNvPr id="32" name="Группа 31"/>
          <p:cNvGrpSpPr/>
          <p:nvPr/>
        </p:nvGrpSpPr>
        <p:grpSpPr>
          <a:xfrm>
            <a:off x="210556" y="5831004"/>
            <a:ext cx="8577157" cy="297136"/>
            <a:chOff x="101600" y="701588"/>
            <a:chExt cx="8940800" cy="219990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6948422" y="731827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37" name="Прямоугольник 36"/>
          <p:cNvSpPr/>
          <p:nvPr/>
        </p:nvSpPr>
        <p:spPr>
          <a:xfrm>
            <a:off x="222587" y="1809932"/>
            <a:ext cx="2014960" cy="18975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597353" y="2066278"/>
            <a:ext cx="8033639" cy="12581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19699" y="1992549"/>
            <a:ext cx="8021489" cy="8274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 rot="5400000">
            <a:off x="1348780" y="401898"/>
            <a:ext cx="45719" cy="248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 rot="5400000">
            <a:off x="8360992" y="3307270"/>
            <a:ext cx="1324109" cy="150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4" cstate="print">
            <a:lum bright="9000"/>
          </a:blip>
          <a:stretch>
            <a:fillRect/>
          </a:stretch>
        </p:blipFill>
        <p:spPr>
          <a:xfrm>
            <a:off x="7812360" y="345514"/>
            <a:ext cx="1003742" cy="1139270"/>
          </a:xfrm>
          <a:prstGeom prst="rect">
            <a:avLst/>
          </a:prstGeom>
          <a:noFill/>
          <a:ln w="73025">
            <a:noFill/>
          </a:ln>
          <a:effectLst>
            <a:glow>
              <a:schemeClr val="accent1">
                <a:alpha val="40000"/>
              </a:schemeClr>
            </a:glow>
            <a:outerShdw blurRad="50800" dist="50800" dir="5400000" sx="1000" sy="1000" algn="ctr" rotWithShape="0">
              <a:srgbClr val="000000"/>
            </a:outerShdw>
            <a:softEdge rad="0"/>
          </a:effec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48336" y="556370"/>
            <a:ext cx="1739848" cy="78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3944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/>
        </p:nvCxnSpPr>
        <p:spPr>
          <a:xfrm flipV="1">
            <a:off x="1145522" y="2458305"/>
            <a:ext cx="3640931" cy="11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 flipH="1">
            <a:off x="1403648" y="2015133"/>
            <a:ext cx="0" cy="12751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3" name="TextBox 53"/>
          <p:cNvSpPr txBox="1">
            <a:spLocks noChangeArrowheads="1"/>
          </p:cNvSpPr>
          <p:nvPr/>
        </p:nvSpPr>
        <p:spPr bwMode="auto">
          <a:xfrm>
            <a:off x="1562946" y="1846083"/>
            <a:ext cx="315872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b="1" dirty="0">
                <a:solidFill>
                  <a:prstClr val="black"/>
                </a:solidFill>
                <a:ea typeface="Open Sans"/>
                <a:cs typeface="Open Sans"/>
              </a:rPr>
              <a:t>Мероприятие, в котором участвует регион:</a:t>
            </a:r>
          </a:p>
        </p:txBody>
      </p:sp>
      <p:sp>
        <p:nvSpPr>
          <p:cNvPr id="7174" name="TextBox 55"/>
          <p:cNvSpPr txBox="1">
            <a:spLocks noChangeArrowheads="1"/>
          </p:cNvSpPr>
          <p:nvPr/>
        </p:nvSpPr>
        <p:spPr bwMode="auto">
          <a:xfrm>
            <a:off x="1779092" y="2552322"/>
            <a:ext cx="398859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Докапитализация региональной микрофинансовой организаций</a:t>
            </a:r>
          </a:p>
        </p:txBody>
      </p:sp>
      <p:grpSp>
        <p:nvGrpSpPr>
          <p:cNvPr id="7175" name="Group 28"/>
          <p:cNvGrpSpPr>
            <a:grpSpLocks/>
          </p:cNvGrpSpPr>
          <p:nvPr/>
        </p:nvGrpSpPr>
        <p:grpSpPr bwMode="auto">
          <a:xfrm>
            <a:off x="623061" y="2574306"/>
            <a:ext cx="658416" cy="659606"/>
            <a:chOff x="4337328" y="1577112"/>
            <a:chExt cx="879017" cy="879017"/>
          </a:xfrm>
        </p:grpSpPr>
        <p:sp>
          <p:nvSpPr>
            <p:cNvPr id="66" name="Oval 6"/>
            <p:cNvSpPr/>
            <p:nvPr/>
          </p:nvSpPr>
          <p:spPr>
            <a:xfrm>
              <a:off x="4512178" y="1772272"/>
              <a:ext cx="502295" cy="5029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spcBef>
                  <a:spcPts val="1800"/>
                </a:spcBef>
                <a:spcAft>
                  <a:spcPts val="0"/>
                </a:spcAft>
                <a:defRPr/>
              </a:pPr>
              <a:r>
                <a:rPr lang="ru-RU" sz="2700" dirty="0">
                  <a:solidFill>
                    <a:prstClr val="white"/>
                  </a:solidFill>
                  <a:latin typeface="Calibri Light" panose="020F0302020204030204"/>
                </a:rPr>
                <a:t>1</a:t>
              </a:r>
            </a:p>
          </p:txBody>
        </p:sp>
        <p:sp>
          <p:nvSpPr>
            <p:cNvPr id="67" name="Block Arc 19"/>
            <p:cNvSpPr/>
            <p:nvPr/>
          </p:nvSpPr>
          <p:spPr>
            <a:xfrm>
              <a:off x="4337328" y="1577112"/>
              <a:ext cx="879017" cy="879017"/>
            </a:xfrm>
            <a:prstGeom prst="blockArc">
              <a:avLst>
                <a:gd name="adj1" fmla="val 16071509"/>
                <a:gd name="adj2" fmla="val 21010"/>
                <a:gd name="adj3" fmla="val 18894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7176" name="TextBox 32"/>
          <p:cNvSpPr txBox="1">
            <a:spLocks noChangeArrowheads="1"/>
          </p:cNvSpPr>
          <p:nvPr/>
        </p:nvSpPr>
        <p:spPr bwMode="auto">
          <a:xfrm>
            <a:off x="459581" y="1423440"/>
            <a:ext cx="81486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доступа субъектов МСП к финансовым ресурсам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020396" y="2121277"/>
            <a:ext cx="2659856" cy="30813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b="1" dirty="0" smtClean="0">
              <a:solidFill>
                <a:prstClr val="black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b="1" dirty="0">
              <a:solidFill>
                <a:prstClr val="black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b="1" dirty="0" smtClean="0">
              <a:solidFill>
                <a:prstClr val="black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 smtClean="0">
                <a:solidFill>
                  <a:prstClr val="black"/>
                </a:solidFill>
              </a:rPr>
              <a:t>Объем </a:t>
            </a:r>
            <a:r>
              <a:rPr lang="ru-RU" sz="1500" b="1" dirty="0">
                <a:solidFill>
                  <a:prstClr val="black"/>
                </a:solidFill>
              </a:rPr>
              <a:t>государственной поддержки на 2019 </a:t>
            </a:r>
            <a:r>
              <a:rPr lang="ru-RU" sz="1500" b="1" dirty="0" smtClean="0">
                <a:solidFill>
                  <a:prstClr val="black"/>
                </a:solidFill>
              </a:rPr>
              <a:t>год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b="1" dirty="0" smtClean="0">
              <a:solidFill>
                <a:prstClr val="black"/>
              </a:solidFill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 smtClean="0">
                <a:solidFill>
                  <a:prstClr val="black"/>
                </a:solidFill>
              </a:rPr>
              <a:t>          ФБ                          ОБ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black"/>
                </a:solidFill>
              </a:rPr>
              <a:t> </a:t>
            </a:r>
            <a:r>
              <a:rPr lang="ru-RU" sz="1500" b="1" dirty="0" smtClean="0">
                <a:solidFill>
                  <a:prstClr val="black"/>
                </a:solidFill>
              </a:rPr>
              <a:t>      </a:t>
            </a:r>
            <a:r>
              <a:rPr lang="ru-RU" b="1" dirty="0" smtClean="0">
                <a:solidFill>
                  <a:srgbClr val="FF0000"/>
                </a:solidFill>
              </a:rPr>
              <a:t>337,0                10,7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 smtClean="0">
                <a:solidFill>
                  <a:srgbClr val="FF0000"/>
                </a:solidFill>
              </a:rPr>
              <a:t>     млн. руб.            млн. руб.</a:t>
            </a:r>
            <a:endParaRPr lang="ru-RU" sz="1500" b="1" dirty="0">
              <a:solidFill>
                <a:prstClr val="black"/>
              </a:solidFill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01629" y="2276432"/>
            <a:ext cx="754523" cy="968267"/>
          </a:xfrm>
          <a:prstGeom prst="rect">
            <a:avLst/>
          </a:prstGeom>
          <a:noFill/>
        </p:spPr>
      </p:pic>
      <p:pic>
        <p:nvPicPr>
          <p:cNvPr id="7181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7925" y="1080752"/>
            <a:ext cx="883562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177925" y="558448"/>
            <a:ext cx="88356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икрокредитная компания Архангельский региональный фонд «Развитие» </a:t>
            </a:r>
          </a:p>
        </p:txBody>
      </p:sp>
      <p:sp>
        <p:nvSpPr>
          <p:cNvPr id="7183" name="TextBox 26"/>
          <p:cNvSpPr txBox="1">
            <a:spLocks noChangeArrowheads="1"/>
          </p:cNvSpPr>
          <p:nvPr/>
        </p:nvSpPr>
        <p:spPr bwMode="auto">
          <a:xfrm>
            <a:off x="132160" y="5704285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01476295"/>
              </p:ext>
            </p:extLst>
          </p:nvPr>
        </p:nvGraphicFramePr>
        <p:xfrm>
          <a:off x="572386" y="3502247"/>
          <a:ext cx="4930379" cy="18919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49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247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6449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9850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787371">
                <a:tc>
                  <a:txBody>
                    <a:bodyPr/>
                    <a:lstStyle/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1" dirty="0" smtClean="0"/>
                        <a:t>Показатель</a:t>
                      </a:r>
                      <a:endParaRPr lang="ru-RU" sz="1200" b="1" dirty="0"/>
                    </a:p>
                  </a:txBody>
                  <a:tcPr marL="51439" marR="51439" marT="0" marB="0" anchor="ctr"/>
                </a:tc>
                <a:tc>
                  <a:txBody>
                    <a:bodyPr/>
                    <a:lstStyle/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1" dirty="0" smtClean="0"/>
                        <a:t>План </a:t>
                      </a:r>
                    </a:p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1" dirty="0" smtClean="0"/>
                        <a:t>2019 </a:t>
                      </a:r>
                      <a:endParaRPr lang="ru-RU" sz="1200" b="1" dirty="0"/>
                    </a:p>
                  </a:txBody>
                  <a:tcPr marL="51439" marR="51439" marT="0" marB="0" anchor="ctr"/>
                </a:tc>
                <a:tc>
                  <a:txBody>
                    <a:bodyPr/>
                    <a:lstStyle/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1" dirty="0" smtClean="0"/>
                        <a:t>Факт </a:t>
                      </a:r>
                    </a:p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1" dirty="0" smtClean="0"/>
                        <a:t>2019 </a:t>
                      </a:r>
                      <a:endParaRPr lang="ru-RU" sz="1200" b="1" dirty="0"/>
                    </a:p>
                  </a:txBody>
                  <a:tcPr marL="51439" marR="51439" marT="0" marB="0" anchor="ctr"/>
                </a:tc>
                <a:tc>
                  <a:txBody>
                    <a:bodyPr/>
                    <a:lstStyle/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400" b="1" dirty="0" smtClean="0"/>
                        <a:t>План </a:t>
                      </a:r>
                    </a:p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400" b="1" dirty="0" smtClean="0"/>
                        <a:t>2024 </a:t>
                      </a:r>
                    </a:p>
                  </a:txBody>
                  <a:tcPr marL="51439" marR="51439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04532">
                <a:tc>
                  <a:txBody>
                    <a:bodyPr/>
                    <a:lstStyle/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Количество выдаваемых микрозаймов МФО субъектам</a:t>
                      </a:r>
                    </a:p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МСП </a:t>
                      </a:r>
                    </a:p>
                    <a:p>
                      <a:pPr algn="ctr"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(нарастающим итогом)</a:t>
                      </a:r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51439" marR="5143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</a:rPr>
                        <a:t>807</a:t>
                      </a:r>
                    </a:p>
                  </a:txBody>
                  <a:tcPr marL="51439" marR="51439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</a:rPr>
                        <a:t>826</a:t>
                      </a:r>
                    </a:p>
                  </a:txBody>
                  <a:tcPr marL="51439" marR="51439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</a:rPr>
                        <a:t>1 003</a:t>
                      </a:r>
                    </a:p>
                  </a:txBody>
                  <a:tcPr marL="51439" marR="51439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7201" name="Рисунок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89985" y="5338763"/>
            <a:ext cx="2200275" cy="42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4950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1268760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179512" y="764704"/>
            <a:ext cx="88344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икрокредитная компания Архангельский региональный фонд «Развитие» </a:t>
            </a:r>
          </a:p>
        </p:txBody>
      </p:sp>
      <p:sp>
        <p:nvSpPr>
          <p:cNvPr id="8197" name="TextBox 38"/>
          <p:cNvSpPr txBox="1">
            <a:spLocks noChangeArrowheads="1"/>
          </p:cNvSpPr>
          <p:nvPr/>
        </p:nvSpPr>
        <p:spPr bwMode="auto">
          <a:xfrm>
            <a:off x="0" y="5755915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8199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30912" y="5545462"/>
            <a:ext cx="2189560" cy="427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Диаграмма 4"/>
          <p:cNvGraphicFramePr/>
          <p:nvPr>
            <p:extLst/>
          </p:nvPr>
        </p:nvGraphicFramePr>
        <p:xfrm>
          <a:off x="170260" y="1397000"/>
          <a:ext cx="8650212" cy="4245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74142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4961" y="1214048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436960" y="2174082"/>
            <a:ext cx="1890713" cy="71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 flipH="1">
            <a:off x="1382316" y="2175272"/>
            <a:ext cx="19050" cy="12322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5470555" y="3113307"/>
            <a:ext cx="3321620" cy="214226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1500" b="1" dirty="0">
                <a:solidFill>
                  <a:prstClr val="black"/>
                </a:solidFill>
              </a:rPr>
              <a:t>В 2019 году докапитализация</a:t>
            </a:r>
          </a:p>
          <a:p>
            <a:pPr algn="ctr" eaLnBrk="0" hangingPunct="0">
              <a:defRPr/>
            </a:pPr>
            <a:r>
              <a:rPr lang="ru-RU" sz="1500" b="1" dirty="0">
                <a:solidFill>
                  <a:prstClr val="black"/>
                </a:solidFill>
              </a:rPr>
              <a:t>МКК «Развитие»</a:t>
            </a:r>
          </a:p>
          <a:p>
            <a:pPr algn="ctr" eaLnBrk="0" hangingPunct="0">
              <a:defRPr/>
            </a:pPr>
            <a:endParaRPr lang="ru-RU" sz="1500" b="1" dirty="0">
              <a:solidFill>
                <a:prstClr val="black"/>
              </a:solidFill>
            </a:endParaRPr>
          </a:p>
          <a:p>
            <a:pPr algn="ctr" eaLnBrk="0" hangingPunct="0">
              <a:defRPr/>
            </a:pPr>
            <a:endParaRPr lang="ru-RU" sz="1500" b="1" dirty="0">
              <a:solidFill>
                <a:prstClr val="black"/>
              </a:solidFill>
            </a:endParaRPr>
          </a:p>
          <a:p>
            <a:pPr algn="ctr" eaLnBrk="0" hangingPunct="0">
              <a:defRPr/>
            </a:pPr>
            <a:endParaRPr lang="ru-RU" sz="1500" b="1" dirty="0">
              <a:solidFill>
                <a:prstClr val="black"/>
              </a:solidFill>
            </a:endParaRPr>
          </a:p>
          <a:p>
            <a:pPr algn="ctr" eaLnBrk="0" hangingPunct="0">
              <a:defRPr/>
            </a:pPr>
            <a:endParaRPr lang="ru-RU" sz="1500" b="1" dirty="0">
              <a:solidFill>
                <a:prstClr val="black"/>
              </a:solidFill>
            </a:endParaRPr>
          </a:p>
          <a:p>
            <a:pPr algn="ctr" eaLnBrk="0" hangingPunct="0">
              <a:defRPr/>
            </a:pPr>
            <a:endParaRPr lang="ru-RU" sz="1500" b="1" dirty="0">
              <a:solidFill>
                <a:prstClr val="black"/>
              </a:solidFill>
            </a:endParaRPr>
          </a:p>
        </p:txBody>
      </p:sp>
      <p:sp>
        <p:nvSpPr>
          <p:cNvPr id="9225" name="Прямоугольник 1"/>
          <p:cNvSpPr>
            <a:spLocks noChangeArrowheads="1"/>
          </p:cNvSpPr>
          <p:nvPr/>
        </p:nvSpPr>
        <p:spPr bwMode="auto">
          <a:xfrm>
            <a:off x="1498997" y="2297906"/>
            <a:ext cx="142875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до 5 млн. 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рублей</a:t>
            </a:r>
          </a:p>
        </p:txBody>
      </p:sp>
      <p:sp>
        <p:nvSpPr>
          <p:cNvPr id="9226" name="Прямоугольник 2"/>
          <p:cNvSpPr>
            <a:spLocks noChangeArrowheads="1"/>
          </p:cNvSpPr>
          <p:nvPr/>
        </p:nvSpPr>
        <p:spPr bwMode="auto">
          <a:xfrm>
            <a:off x="1498998" y="2961085"/>
            <a:ext cx="926306" cy="669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3%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750">
                <a:solidFill>
                  <a:prstClr val="black"/>
                </a:solidFill>
              </a:rPr>
              <a:t>(на 17.03.2020)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 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423862" y="2869407"/>
            <a:ext cx="1890713" cy="83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57201" y="3396854"/>
            <a:ext cx="1870472" cy="23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9" name="Прямоугольник 7"/>
          <p:cNvSpPr>
            <a:spLocks noChangeArrowheads="1"/>
          </p:cNvSpPr>
          <p:nvPr/>
        </p:nvSpPr>
        <p:spPr bwMode="auto">
          <a:xfrm>
            <a:off x="475060" y="2364582"/>
            <a:ext cx="86299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b="1">
                <a:solidFill>
                  <a:prstClr val="black"/>
                </a:solidFill>
              </a:rPr>
              <a:t>Условия</a:t>
            </a:r>
          </a:p>
        </p:txBody>
      </p:sp>
      <p:sp>
        <p:nvSpPr>
          <p:cNvPr id="9230" name="Прямоугольник 9"/>
          <p:cNvSpPr>
            <a:spLocks noChangeArrowheads="1"/>
          </p:cNvSpPr>
          <p:nvPr/>
        </p:nvSpPr>
        <p:spPr bwMode="auto">
          <a:xfrm>
            <a:off x="490538" y="2983707"/>
            <a:ext cx="73847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b="1">
                <a:solidFill>
                  <a:prstClr val="black"/>
                </a:solidFill>
              </a:rPr>
              <a:t>Ставка</a:t>
            </a: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 flipV="1">
            <a:off x="4343400" y="2450307"/>
            <a:ext cx="4608910" cy="166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4343399" y="2054844"/>
            <a:ext cx="4609070" cy="32316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1500" b="1" dirty="0">
                <a:solidFill>
                  <a:prstClr val="black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сновные результаты на 01.01.2020</a:t>
            </a:r>
          </a:p>
        </p:txBody>
      </p:sp>
      <p:sp>
        <p:nvSpPr>
          <p:cNvPr id="9235" name="Прямоугольник 19"/>
          <p:cNvSpPr>
            <a:spLocks noChangeArrowheads="1"/>
          </p:cNvSpPr>
          <p:nvPr/>
        </p:nvSpPr>
        <p:spPr bwMode="auto">
          <a:xfrm>
            <a:off x="6834188" y="2568178"/>
            <a:ext cx="2133341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100" b="1">
                <a:solidFill>
                  <a:srgbClr val="FF0000"/>
                </a:solidFill>
              </a:rPr>
              <a:t>97,7</a:t>
            </a:r>
            <a:r>
              <a:rPr lang="ru-RU" altLang="ru-RU" sz="2100">
                <a:solidFill>
                  <a:prstClr val="black"/>
                </a:solidFill>
              </a:rPr>
              <a:t> млн. рублей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70260" y="729687"/>
            <a:ext cx="88491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икрокредитная компания Архангельский региональный фонд «Развитие» </a:t>
            </a:r>
          </a:p>
        </p:txBody>
      </p:sp>
      <p:sp>
        <p:nvSpPr>
          <p:cNvPr id="9237" name="TextBox 5"/>
          <p:cNvSpPr txBox="1">
            <a:spLocks noChangeArrowheads="1"/>
          </p:cNvSpPr>
          <p:nvPr/>
        </p:nvSpPr>
        <p:spPr bwMode="auto">
          <a:xfrm>
            <a:off x="30180" y="1530106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субъектов МСП, осуществляющих свою деятельность на территории моногородов </a:t>
            </a:r>
            <a:r>
              <a:rPr lang="ru-RU" altLang="ru-RU" sz="1400" b="1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altLang="ru-RU" sz="1400" b="1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400" b="1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ангельской </a:t>
            </a:r>
            <a:r>
              <a:rPr lang="ru-RU" altLang="ru-RU" sz="14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</a:t>
            </a:r>
          </a:p>
        </p:txBody>
      </p:sp>
      <p:sp>
        <p:nvSpPr>
          <p:cNvPr id="9238" name="TextBox 38"/>
          <p:cNvSpPr txBox="1">
            <a:spLocks noChangeArrowheads="1"/>
          </p:cNvSpPr>
          <p:nvPr/>
        </p:nvSpPr>
        <p:spPr bwMode="auto">
          <a:xfrm>
            <a:off x="170260" y="5842398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sp>
        <p:nvSpPr>
          <p:cNvPr id="9239" name="Прямоугольник 6"/>
          <p:cNvSpPr>
            <a:spLocks noChangeArrowheads="1"/>
          </p:cNvSpPr>
          <p:nvPr/>
        </p:nvSpPr>
        <p:spPr bwMode="auto">
          <a:xfrm>
            <a:off x="5632848" y="3932635"/>
            <a:ext cx="1320403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350" b="1">
                <a:solidFill>
                  <a:prstClr val="black"/>
                </a:solidFill>
              </a:rPr>
              <a:t>ФБ</a:t>
            </a:r>
            <a:r>
              <a:rPr lang="ru-RU" altLang="ru-RU" sz="1350">
                <a:solidFill>
                  <a:srgbClr val="FF0000"/>
                </a:solidFill>
              </a:rPr>
              <a:t>              </a:t>
            </a:r>
          </a:p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3000" b="1">
                <a:solidFill>
                  <a:srgbClr val="FF0000"/>
                </a:solidFill>
              </a:rPr>
              <a:t>95,73</a:t>
            </a:r>
            <a:endParaRPr lang="ru-RU" altLang="ru-RU" sz="1350">
              <a:solidFill>
                <a:srgbClr val="FF0000"/>
              </a:solidFill>
            </a:endParaRPr>
          </a:p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350" b="1">
                <a:solidFill>
                  <a:srgbClr val="FF0000"/>
                </a:solidFill>
              </a:rPr>
              <a:t>млн руб.</a:t>
            </a:r>
          </a:p>
        </p:txBody>
      </p:sp>
      <p:sp>
        <p:nvSpPr>
          <p:cNvPr id="9240" name="Прямоугольник 27"/>
          <p:cNvSpPr>
            <a:spLocks noChangeArrowheads="1"/>
          </p:cNvSpPr>
          <p:nvPr/>
        </p:nvSpPr>
        <p:spPr bwMode="auto">
          <a:xfrm>
            <a:off x="7297341" y="3932635"/>
            <a:ext cx="1150144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350" b="1">
                <a:solidFill>
                  <a:prstClr val="black"/>
                </a:solidFill>
              </a:rPr>
              <a:t>ОБ</a:t>
            </a:r>
            <a:r>
              <a:rPr lang="ru-RU" altLang="ru-RU" sz="1350">
                <a:solidFill>
                  <a:srgbClr val="FF0000"/>
                </a:solidFill>
              </a:rPr>
              <a:t>              </a:t>
            </a:r>
          </a:p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3000" b="1">
                <a:solidFill>
                  <a:srgbClr val="FF0000"/>
                </a:solidFill>
              </a:rPr>
              <a:t>1,95</a:t>
            </a:r>
            <a:endParaRPr lang="ru-RU" altLang="ru-RU" sz="1350">
              <a:solidFill>
                <a:srgbClr val="FF0000"/>
              </a:solidFill>
            </a:endParaRPr>
          </a:p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350" b="1">
                <a:solidFill>
                  <a:srgbClr val="FF0000"/>
                </a:solidFill>
              </a:rPr>
              <a:t>млн руб.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170260" y="3388520"/>
          <a:ext cx="4895851" cy="2438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47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055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0557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11145"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Муниципальное </a:t>
                      </a:r>
                      <a:r>
                        <a:rPr lang="ru-RU" sz="1200" dirty="0">
                          <a:effectLst/>
                        </a:rPr>
                        <a:t>образование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оличество заключенных договоров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щая сумма заключенных договоров </a:t>
                      </a:r>
                      <a:r>
                        <a:rPr lang="ru-RU" sz="1200" dirty="0" smtClean="0">
                          <a:effectLst/>
                        </a:rPr>
                        <a:t>(</a:t>
                      </a:r>
                      <a:r>
                        <a:rPr lang="ru-RU" sz="1200" dirty="0" err="1" smtClean="0">
                          <a:effectLst/>
                        </a:rPr>
                        <a:t>млн.рублей</a:t>
                      </a:r>
                      <a:r>
                        <a:rPr lang="ru-RU" sz="1200" dirty="0">
                          <a:effectLst/>
                        </a:rPr>
                        <a:t>)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3581">
                <a:tc>
                  <a:txBody>
                    <a:bodyPr/>
                    <a:lstStyle/>
                    <a:p>
                      <a:pPr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еверодвинск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9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16,10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3581">
                <a:tc>
                  <a:txBody>
                    <a:bodyPr/>
                    <a:lstStyle/>
                    <a:p>
                      <a:pPr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Новодвинск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0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47,70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3581">
                <a:tc>
                  <a:txBody>
                    <a:bodyPr/>
                    <a:lstStyle/>
                    <a:p>
                      <a:pPr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Онега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2,20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3581">
                <a:tc>
                  <a:txBody>
                    <a:bodyPr/>
                    <a:lstStyle/>
                    <a:p>
                      <a:pPr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евероонежск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5,00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3581">
                <a:tc>
                  <a:txBody>
                    <a:bodyPr/>
                    <a:lstStyle/>
                    <a:p>
                      <a:pPr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оряжма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4,50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3581">
                <a:tc>
                  <a:txBody>
                    <a:bodyPr/>
                    <a:lstStyle/>
                    <a:p>
                      <a:pPr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Кизема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,00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3581">
                <a:tc>
                  <a:txBody>
                    <a:bodyPr/>
                    <a:lstStyle/>
                    <a:p>
                      <a:pPr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Октябрьский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4</a:t>
                      </a:r>
                      <a:endParaRPr lang="ru-RU" sz="15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22,19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93581"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Итого</a:t>
                      </a:r>
                      <a:endParaRPr lang="ru-RU" sz="15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81</a:t>
                      </a:r>
                      <a:endParaRPr lang="ru-RU" sz="15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610"/>
                        </a:lnSpc>
                        <a:spcBef>
                          <a:spcPts val="390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97,69</a:t>
                      </a:r>
                      <a:endParaRPr lang="ru-RU" sz="15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4" marR="51434" marT="0" marB="0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cxnSp>
        <p:nvCxnSpPr>
          <p:cNvPr id="31" name="Прямая соединительная линия 30"/>
          <p:cNvCxnSpPr/>
          <p:nvPr/>
        </p:nvCxnSpPr>
        <p:spPr>
          <a:xfrm>
            <a:off x="6715125" y="2462212"/>
            <a:ext cx="0" cy="5476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84" name="Прямоугольник 24"/>
          <p:cNvSpPr>
            <a:spLocks noChangeArrowheads="1"/>
          </p:cNvSpPr>
          <p:nvPr/>
        </p:nvSpPr>
        <p:spPr bwMode="auto">
          <a:xfrm>
            <a:off x="4773216" y="2580085"/>
            <a:ext cx="1590675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100" b="1">
                <a:solidFill>
                  <a:srgbClr val="FF0000"/>
                </a:solidFill>
              </a:rPr>
              <a:t>81</a:t>
            </a:r>
            <a:r>
              <a:rPr lang="ru-RU" altLang="ru-RU" sz="2100">
                <a:solidFill>
                  <a:prstClr val="black"/>
                </a:solidFill>
              </a:rPr>
              <a:t> договор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4343400" y="2993232"/>
            <a:ext cx="4608910" cy="166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86" name="Рисунок 7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30116" y="2224088"/>
            <a:ext cx="1133475" cy="1112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87" name="Рисунок 3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35254" y="5406629"/>
            <a:ext cx="2235994" cy="435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041312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5864" y="1178774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170260" y="668027"/>
            <a:ext cx="89100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икрокредитная компания Архангельский региональный фонд «Развитие» </a:t>
            </a:r>
          </a:p>
        </p:txBody>
      </p:sp>
      <p:sp>
        <p:nvSpPr>
          <p:cNvPr id="10245" name="TextBox 5"/>
          <p:cNvSpPr txBox="1">
            <a:spLocks noChangeArrowheads="1"/>
          </p:cNvSpPr>
          <p:nvPr/>
        </p:nvSpPr>
        <p:spPr bwMode="auto">
          <a:xfrm>
            <a:off x="-476250" y="3458766"/>
            <a:ext cx="9144000" cy="288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 b="1" i="1">
                <a:solidFill>
                  <a:prstClr val="black"/>
                </a:solidFill>
              </a:rPr>
              <a:t>Показатели эффективности за период деятельности МКК «Развитие» с 2010 по 2019 год.</a:t>
            </a:r>
          </a:p>
        </p:txBody>
      </p:sp>
      <p:sp>
        <p:nvSpPr>
          <p:cNvPr id="10246" name="TextBox 38"/>
          <p:cNvSpPr txBox="1">
            <a:spLocks noChangeArrowheads="1"/>
          </p:cNvSpPr>
          <p:nvPr/>
        </p:nvSpPr>
        <p:spPr bwMode="auto">
          <a:xfrm>
            <a:off x="170260" y="5642372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10247" name="Рисунок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68654" y="2831307"/>
            <a:ext cx="2235994" cy="435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9" name="Таблица 28"/>
          <p:cNvGraphicFramePr>
            <a:graphicFrameLocks noGrp="1"/>
          </p:cNvGraphicFramePr>
          <p:nvPr/>
        </p:nvGraphicFramePr>
        <p:xfrm>
          <a:off x="440531" y="3751660"/>
          <a:ext cx="7941470" cy="15990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53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853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531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1759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967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Субсидии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Выдано</a:t>
                      </a:r>
                      <a:r>
                        <a:rPr lang="ru-RU" sz="1500" baseline="0" dirty="0" smtClean="0">
                          <a:solidFill>
                            <a:schemeClr val="tx1"/>
                          </a:solidFill>
                        </a:rPr>
                        <a:t> займов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672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539,61</a:t>
                      </a:r>
                      <a:r>
                        <a:rPr lang="ru-RU" sz="1500" baseline="0" dirty="0" smtClean="0">
                          <a:solidFill>
                            <a:schemeClr val="tx1"/>
                          </a:solidFill>
                        </a:rPr>
                        <a:t> млн. руб.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rgbClr val="0070C0"/>
                          </a:solidFill>
                        </a:rPr>
                        <a:t>1587 ед.</a:t>
                      </a:r>
                      <a:endParaRPr lang="ru-RU" sz="1500" b="1" dirty="0">
                        <a:solidFill>
                          <a:srgbClr val="0070C0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rgbClr val="0070C0"/>
                          </a:solidFill>
                        </a:rPr>
                        <a:t>1 315,47</a:t>
                      </a:r>
                      <a:r>
                        <a:rPr lang="ru-RU" sz="1500" b="1" baseline="0" dirty="0" smtClean="0">
                          <a:solidFill>
                            <a:srgbClr val="0070C0"/>
                          </a:solidFill>
                        </a:rPr>
                        <a:t> млн. руб.</a:t>
                      </a:r>
                      <a:endParaRPr lang="ru-RU" sz="1500" b="1" dirty="0">
                        <a:solidFill>
                          <a:srgbClr val="0070C0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5893"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tx1"/>
                          </a:solidFill>
                        </a:rPr>
                        <a:t>Федеральный</a:t>
                      </a:r>
                      <a:r>
                        <a:rPr lang="ru-RU" sz="1500" b="1" baseline="0" dirty="0" smtClean="0">
                          <a:solidFill>
                            <a:schemeClr val="tx1"/>
                          </a:solidFill>
                        </a:rPr>
                        <a:t> бюджет</a:t>
                      </a:r>
                      <a:endParaRPr lang="ru-RU" sz="15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tx1"/>
                          </a:solidFill>
                        </a:rPr>
                        <a:t>Областной бюджет</a:t>
                      </a:r>
                      <a:endParaRPr lang="ru-RU" sz="15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tx1"/>
                          </a:solidFill>
                        </a:rPr>
                        <a:t>Создано рабочих мест</a:t>
                      </a:r>
                      <a:endParaRPr lang="ru-RU" sz="15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6724">
                <a:tc>
                  <a:txBody>
                    <a:bodyPr/>
                    <a:lstStyle/>
                    <a:p>
                      <a:pPr algn="ctr"/>
                      <a:r>
                        <a:rPr lang="ru-RU" sz="1500" baseline="0" dirty="0" smtClean="0">
                          <a:solidFill>
                            <a:schemeClr val="tx1"/>
                          </a:solidFill>
                        </a:rPr>
                        <a:t>434,99 млн. руб.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104,62 млн. руб.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rgbClr val="0070C0"/>
                          </a:solidFill>
                        </a:rPr>
                        <a:t>2741 ед.</a:t>
                      </a:r>
                      <a:endParaRPr lang="ru-RU" sz="1500" b="1" dirty="0">
                        <a:solidFill>
                          <a:srgbClr val="0070C0"/>
                        </a:solidFill>
                      </a:endParaRPr>
                    </a:p>
                  </a:txBody>
                  <a:tcPr marL="68583" marR="68583" marT="34298" marB="3429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0270" name="TextBox 5"/>
          <p:cNvSpPr txBox="1">
            <a:spLocks noChangeArrowheads="1"/>
          </p:cNvSpPr>
          <p:nvPr/>
        </p:nvSpPr>
        <p:spPr bwMode="auto">
          <a:xfrm>
            <a:off x="-324544" y="1552906"/>
            <a:ext cx="914400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местная программа ГУП </a:t>
            </a:r>
            <a:r>
              <a:rPr lang="ru-RU" altLang="ru-RU" sz="1400" b="1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ИК </a:t>
            </a:r>
            <a:r>
              <a:rPr lang="ru-RU" altLang="ru-RU" sz="14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рхангельск» и МКК «Развитие» с 2017 по 2020 </a:t>
            </a:r>
            <a:r>
              <a:rPr lang="ru-RU" altLang="ru-RU" sz="1400" b="1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</a:t>
            </a:r>
            <a:endParaRPr lang="ru-RU" altLang="ru-RU" sz="1400" b="1" i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71" name="Picture 7" descr="Z:\Отдел_предпринимательства\O_innov\НАЧАЛЬНИК\Подведомственные\Лготип (цвет) (1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36632" y="1932385"/>
            <a:ext cx="1045369" cy="77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38213" y="2230041"/>
            <a:ext cx="4630341" cy="83330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eaLnBrk="0" hangingPunct="0">
              <a:lnSpc>
                <a:spcPct val="107000"/>
              </a:lnSpc>
              <a:spcAft>
                <a:spcPts val="0"/>
              </a:spcAft>
              <a:defRPr/>
            </a:pPr>
            <a:r>
              <a:rPr lang="ru-RU" sz="1500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  2019 год      </a:t>
            </a:r>
            <a:r>
              <a:rPr lang="ru-RU" sz="15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ru-RU" sz="1500" b="1" dirty="0">
                <a:solidFill>
                  <a:srgbClr val="ED7D3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4 займов на сумму 37 млн. рублей</a:t>
            </a:r>
          </a:p>
          <a:p>
            <a:pPr marL="214313" indent="-214313" algn="just" eaLnBrk="0" hangingPunct="0">
              <a:lnSpc>
                <a:spcPct val="107000"/>
              </a:lnSpc>
              <a:spcAft>
                <a:spcPts val="0"/>
              </a:spcAft>
              <a:buFontTx/>
              <a:buChar char="-"/>
              <a:defRPr/>
            </a:pPr>
            <a:endParaRPr lang="ru-RU" sz="1500" b="1" dirty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 eaLnBrk="0" hangingPunct="0">
              <a:lnSpc>
                <a:spcPct val="107000"/>
              </a:lnSpc>
              <a:spcAft>
                <a:spcPts val="0"/>
              </a:spcAft>
              <a:defRPr/>
            </a:pPr>
            <a:r>
              <a:rPr lang="ru-RU" sz="1500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017-2020 год        </a:t>
            </a:r>
            <a:r>
              <a:rPr lang="ru-RU" sz="1500" b="1" dirty="0">
                <a:solidFill>
                  <a:srgbClr val="ED7D31">
                    <a:lumMod val="75000"/>
                  </a:srgb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3 займа на сумму 62 млн. рублей </a:t>
            </a:r>
            <a:endParaRPr lang="ru-RU" sz="1200" b="1" dirty="0">
              <a:solidFill>
                <a:srgbClr val="ED7D31">
                  <a:lumMod val="75000"/>
                </a:srgb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6" name="Прямая соединительная линия 5"/>
          <p:cNvCxnSpPr>
            <a:stCxn id="3" idx="1"/>
            <a:endCxn id="3" idx="3"/>
          </p:cNvCxnSpPr>
          <p:nvPr/>
        </p:nvCxnSpPr>
        <p:spPr>
          <a:xfrm>
            <a:off x="938213" y="2646694"/>
            <a:ext cx="4630341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365772" y="2239566"/>
            <a:ext cx="0" cy="809625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9169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02469" y="1726407"/>
            <a:ext cx="7814072" cy="398860"/>
          </a:xfrm>
        </p:spPr>
        <p:txBody>
          <a:bodyPr/>
          <a:lstStyle/>
          <a:p>
            <a:pPr algn="ctr">
              <a:defRPr/>
            </a:pPr>
            <a:r>
              <a:rPr lang="ru-RU" sz="2400" b="1" i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Поручительств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753667" y="2131219"/>
            <a:ext cx="3620690" cy="421481"/>
          </a:xfrm>
        </p:spPr>
        <p:txBody>
          <a:bodyPr/>
          <a:lstStyle/>
          <a:p>
            <a:pPr algn="ctr">
              <a:defRPr/>
            </a:pPr>
            <a:r>
              <a:rPr lang="ru-RU" i="1" dirty="0" smtClean="0">
                <a:solidFill>
                  <a:schemeClr val="accent2">
                    <a:lumMod val="75000"/>
                  </a:schemeClr>
                </a:solidFill>
              </a:rPr>
              <a:t>Количество, ед.</a:t>
            </a:r>
            <a:endParaRPr lang="ru-RU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11268" name="Объект 32"/>
          <p:cNvGraphicFramePr>
            <a:graphicFrameLocks noGrp="1"/>
          </p:cNvGraphicFramePr>
          <p:nvPr>
            <p:ph sz="half" idx="2"/>
          </p:nvPr>
        </p:nvGraphicFramePr>
        <p:xfrm>
          <a:off x="591742" y="2697956"/>
          <a:ext cx="3944540" cy="2839641"/>
        </p:xfrm>
        <a:graphic>
          <a:graphicData uri="http://schemas.openxmlformats.org/presentationml/2006/ole">
            <p:oleObj spid="_x0000_s2196" name="Диаграмма" r:id="rId3" imgW="5267401" imgH="3792041" progId="">
              <p:embed/>
            </p:oleObj>
          </a:graphicData>
        </a:graphic>
      </p:graphicFrame>
      <p:sp>
        <p:nvSpPr>
          <p:cNvPr id="7" name="Текст 6"/>
          <p:cNvSpPr>
            <a:spLocks noGrp="1"/>
          </p:cNvSpPr>
          <p:nvPr>
            <p:ph type="body" sz="quarter" idx="3"/>
          </p:nvPr>
        </p:nvSpPr>
        <p:spPr>
          <a:xfrm>
            <a:off x="4762500" y="2131219"/>
            <a:ext cx="3620691" cy="414338"/>
          </a:xfrm>
        </p:spPr>
        <p:txBody>
          <a:bodyPr/>
          <a:lstStyle/>
          <a:p>
            <a:pPr algn="ctr">
              <a:defRPr/>
            </a:pPr>
            <a:r>
              <a:rPr lang="ru-RU" i="1" dirty="0" smtClean="0">
                <a:solidFill>
                  <a:schemeClr val="accent2">
                    <a:lumMod val="75000"/>
                  </a:schemeClr>
                </a:solidFill>
              </a:rPr>
              <a:t>Объем, млн. руб.</a:t>
            </a:r>
            <a:endParaRPr lang="ru-RU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1271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2286" y="1182238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753667" y="652702"/>
            <a:ext cx="7883129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УП АО «Инвестиционная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омпания «Архангельск» </a:t>
            </a:r>
          </a:p>
        </p:txBody>
      </p:sp>
      <p:sp>
        <p:nvSpPr>
          <p:cNvPr id="11273" name="TextBox 38"/>
          <p:cNvSpPr txBox="1">
            <a:spLocks noChangeArrowheads="1"/>
          </p:cNvSpPr>
          <p:nvPr/>
        </p:nvSpPr>
        <p:spPr bwMode="auto">
          <a:xfrm>
            <a:off x="170260" y="5642372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11274" name="Picture 7" descr="Z:\Отдел_предпринимательства\O_innov\НАЧАЛЬНИК\Подведомственные\Лготип (цвет) (1)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4" y="1718072"/>
            <a:ext cx="1117997" cy="827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275" name="Объект 32"/>
          <p:cNvGraphicFramePr>
            <a:graphicFrameLocks noGrp="1"/>
          </p:cNvGraphicFramePr>
          <p:nvPr>
            <p:ph sz="quarter" idx="4"/>
          </p:nvPr>
        </p:nvGraphicFramePr>
        <p:xfrm>
          <a:off x="4591050" y="2697956"/>
          <a:ext cx="3963591" cy="2839641"/>
        </p:xfrm>
        <a:graphic>
          <a:graphicData uri="http://schemas.openxmlformats.org/presentationml/2006/ole">
            <p:oleObj spid="_x0000_s2197" name="Диаграмма" r:id="rId6" imgW="5291787" imgH="3792041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3413477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3603" y="1256674"/>
            <a:ext cx="883562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Прямоугольник 5"/>
          <p:cNvSpPr>
            <a:spLocks noChangeArrowheads="1"/>
          </p:cNvSpPr>
          <p:nvPr/>
        </p:nvSpPr>
        <p:spPr bwMode="auto">
          <a:xfrm>
            <a:off x="847515" y="759679"/>
            <a:ext cx="764780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«Мой бизнес»</a:t>
            </a:r>
          </a:p>
        </p:txBody>
      </p:sp>
      <p:pic>
        <p:nvPicPr>
          <p:cNvPr id="12293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1548" y="3027164"/>
            <a:ext cx="1957388" cy="1727597"/>
          </a:xfrm>
          <a:prstGeom prst="rect">
            <a:avLst/>
          </a:prstGeom>
          <a:noFill/>
          <a:ln w="1016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89314" y="1752118"/>
            <a:ext cx="1962150" cy="1006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5" name="TextBox 13"/>
          <p:cNvSpPr txBox="1">
            <a:spLocks noChangeArrowheads="1"/>
          </p:cNvSpPr>
          <p:nvPr/>
        </p:nvSpPr>
        <p:spPr bwMode="auto">
          <a:xfrm>
            <a:off x="5900738" y="1819723"/>
            <a:ext cx="2728913" cy="55399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b="1" dirty="0">
                <a:solidFill>
                  <a:prstClr val="white"/>
                </a:solidFill>
                <a:ea typeface="Open Sans"/>
                <a:cs typeface="Open Sans"/>
              </a:rPr>
              <a:t>Основные результаты на 31.12.2019</a:t>
            </a:r>
          </a:p>
        </p:txBody>
      </p:sp>
      <p:pic>
        <p:nvPicPr>
          <p:cNvPr id="12296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75152" y="2419919"/>
            <a:ext cx="5238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7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75152" y="3171229"/>
            <a:ext cx="553641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8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69198" y="3919298"/>
            <a:ext cx="565547" cy="539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Прямая соединительная линия 18"/>
          <p:cNvCxnSpPr/>
          <p:nvPr/>
        </p:nvCxnSpPr>
        <p:spPr>
          <a:xfrm flipV="1">
            <a:off x="5218536" y="2978709"/>
            <a:ext cx="3675460" cy="11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V="1">
            <a:off x="5218536" y="3803629"/>
            <a:ext cx="3675460" cy="71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5902350" y="2457512"/>
            <a:ext cx="4006" cy="33052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02" name="Прямоугольник 24"/>
          <p:cNvSpPr>
            <a:spLocks noChangeArrowheads="1"/>
          </p:cNvSpPr>
          <p:nvPr/>
        </p:nvSpPr>
        <p:spPr bwMode="auto">
          <a:xfrm>
            <a:off x="5917928" y="2452340"/>
            <a:ext cx="288369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300" b="1" dirty="0">
                <a:solidFill>
                  <a:srgbClr val="FF0000"/>
                </a:solidFill>
              </a:rPr>
              <a:t>31 </a:t>
            </a:r>
            <a:r>
              <a:rPr lang="ru-RU" altLang="ru-RU" sz="1300" b="1" dirty="0">
                <a:solidFill>
                  <a:srgbClr val="FF0000"/>
                </a:solidFill>
              </a:rPr>
              <a:t>мая 2019 года </a:t>
            </a:r>
            <a:r>
              <a:rPr lang="ru-RU" altLang="ru-RU" sz="1300" dirty="0">
                <a:solidFill>
                  <a:prstClr val="black"/>
                </a:solidFill>
              </a:rPr>
              <a:t>состоялось открытие Центра «Мой бизнес»</a:t>
            </a:r>
          </a:p>
        </p:txBody>
      </p:sp>
      <p:sp>
        <p:nvSpPr>
          <p:cNvPr id="12303" name="Прямоугольник 25"/>
          <p:cNvSpPr>
            <a:spLocks noChangeArrowheads="1"/>
          </p:cNvSpPr>
          <p:nvPr/>
        </p:nvSpPr>
        <p:spPr bwMode="auto">
          <a:xfrm>
            <a:off x="417202" y="2097946"/>
            <a:ext cx="1896666" cy="313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prstClr val="black"/>
                </a:solidFill>
                <a:latin typeface="PTSans-Regular"/>
              </a:rPr>
              <a:t>Создание центра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prstClr val="black"/>
                </a:solidFill>
                <a:latin typeface="PTSans-Regular"/>
              </a:rPr>
              <a:t>«Мой Бизнес»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prstClr val="black"/>
                </a:solidFill>
                <a:latin typeface="PTSans-Regular"/>
              </a:rPr>
              <a:t>и оказание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prstClr val="black"/>
                </a:solidFill>
                <a:latin typeface="PTSans-Regular"/>
              </a:rPr>
              <a:t>комплексных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prstClr val="black"/>
                </a:solidFill>
                <a:latin typeface="PTSans-Regular"/>
              </a:rPr>
              <a:t>услуг, сервиса,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prstClr val="black"/>
                </a:solidFill>
                <a:latin typeface="PTSans-Regular"/>
              </a:rPr>
              <a:t>мер поддержки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prstClr val="black"/>
                </a:solidFill>
                <a:latin typeface="PTSans-Regular"/>
              </a:rPr>
              <a:t>субъектов МСП</a:t>
            </a:r>
            <a:endParaRPr lang="ru-RU" altLang="ru-RU" sz="1800" b="1" dirty="0">
              <a:solidFill>
                <a:prstClr val="black"/>
              </a:solidFill>
            </a:endParaRPr>
          </a:p>
        </p:txBody>
      </p:sp>
      <p:sp>
        <p:nvSpPr>
          <p:cNvPr id="12304" name="TextBox 26"/>
          <p:cNvSpPr txBox="1">
            <a:spLocks noChangeArrowheads="1"/>
          </p:cNvSpPr>
          <p:nvPr/>
        </p:nvSpPr>
        <p:spPr bwMode="auto">
          <a:xfrm>
            <a:off x="5900738" y="2910858"/>
            <a:ext cx="3078956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300" dirty="0">
                <a:solidFill>
                  <a:prstClr val="black"/>
                </a:solidFill>
              </a:rPr>
              <a:t>государственная поддержка оказана </a:t>
            </a:r>
            <a:r>
              <a:rPr lang="ru-RU" altLang="ru-RU" sz="1300" b="1" dirty="0">
                <a:solidFill>
                  <a:srgbClr val="FF0000"/>
                </a:solidFill>
              </a:rPr>
              <a:t>1 870 </a:t>
            </a:r>
            <a:r>
              <a:rPr lang="ru-RU" altLang="ru-RU" sz="1300" dirty="0">
                <a:solidFill>
                  <a:prstClr val="black"/>
                </a:solidFill>
              </a:rPr>
              <a:t>физическим лицам, планирующими начать свое дело, </a:t>
            </a:r>
            <a:br>
              <a:rPr lang="ru-RU" altLang="ru-RU" sz="1300" dirty="0">
                <a:solidFill>
                  <a:prstClr val="black"/>
                </a:solidFill>
              </a:rPr>
            </a:br>
            <a:r>
              <a:rPr lang="ru-RU" altLang="ru-RU" sz="1300" dirty="0">
                <a:solidFill>
                  <a:prstClr val="black"/>
                </a:solidFill>
              </a:rPr>
              <a:t>и действующим </a:t>
            </a:r>
            <a:r>
              <a:rPr lang="ru-RU" altLang="ru-RU" sz="1300" dirty="0" smtClean="0">
                <a:solidFill>
                  <a:prstClr val="black"/>
                </a:solidFill>
              </a:rPr>
              <a:t>предпринимателям</a:t>
            </a:r>
            <a:endParaRPr lang="ru-RU" altLang="ru-RU" sz="1300" dirty="0">
              <a:solidFill>
                <a:prstClr val="black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300" dirty="0">
              <a:solidFill>
                <a:prstClr val="black"/>
              </a:solidFill>
            </a:endParaRPr>
          </a:p>
        </p:txBody>
      </p:sp>
      <p:sp>
        <p:nvSpPr>
          <p:cNvPr id="12305" name="TextBox 32"/>
          <p:cNvSpPr txBox="1">
            <a:spLocks noChangeArrowheads="1"/>
          </p:cNvSpPr>
          <p:nvPr/>
        </p:nvSpPr>
        <p:spPr bwMode="auto">
          <a:xfrm>
            <a:off x="5932572" y="4043142"/>
            <a:ext cx="3064669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300" dirty="0">
                <a:solidFill>
                  <a:prstClr val="black"/>
                </a:solidFill>
              </a:rPr>
              <a:t>проведено более </a:t>
            </a:r>
            <a:r>
              <a:rPr lang="ru-RU" altLang="ru-RU" sz="1300" b="1" dirty="0">
                <a:solidFill>
                  <a:srgbClr val="FF0000"/>
                </a:solidFill>
              </a:rPr>
              <a:t>138</a:t>
            </a:r>
            <a:r>
              <a:rPr lang="ru-RU" altLang="ru-RU" sz="1300" dirty="0">
                <a:solidFill>
                  <a:prstClr val="black"/>
                </a:solidFill>
              </a:rPr>
              <a:t> мероприятий</a:t>
            </a:r>
          </a:p>
        </p:txBody>
      </p:sp>
      <p:sp>
        <p:nvSpPr>
          <p:cNvPr id="12306" name="TextBox 38"/>
          <p:cNvSpPr txBox="1">
            <a:spLocks noChangeArrowheads="1"/>
          </p:cNvSpPr>
          <p:nvPr/>
        </p:nvSpPr>
        <p:spPr bwMode="auto">
          <a:xfrm>
            <a:off x="83344" y="5654278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12307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04842" y="4955243"/>
            <a:ext cx="1131094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Прямая соединительная линия 21"/>
          <p:cNvCxnSpPr/>
          <p:nvPr/>
        </p:nvCxnSpPr>
        <p:spPr>
          <a:xfrm flipV="1">
            <a:off x="5217074" y="4525036"/>
            <a:ext cx="3675460" cy="71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Рисунок 6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57887" y="4721686"/>
            <a:ext cx="558404" cy="546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32"/>
          <p:cNvSpPr txBox="1">
            <a:spLocks noChangeArrowheads="1"/>
          </p:cNvSpPr>
          <p:nvPr/>
        </p:nvSpPr>
        <p:spPr bwMode="auto">
          <a:xfrm>
            <a:off x="5978009" y="4558899"/>
            <a:ext cx="3064669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300" b="1" dirty="0" smtClean="0">
                <a:solidFill>
                  <a:srgbClr val="FF0000"/>
                </a:solidFill>
              </a:rPr>
              <a:t>72</a:t>
            </a:r>
            <a:r>
              <a:rPr lang="ru-RU" altLang="ru-RU" sz="1300" dirty="0" smtClean="0">
                <a:solidFill>
                  <a:prstClr val="black"/>
                </a:solidFill>
              </a:rPr>
              <a:t> созданных субъекта </a:t>
            </a:r>
            <a:r>
              <a:rPr lang="ru-RU" altLang="ru-RU" sz="1300" dirty="0">
                <a:solidFill>
                  <a:prstClr val="black"/>
                </a:solidFill>
              </a:rPr>
              <a:t>МСП из числа </a:t>
            </a:r>
            <a:r>
              <a:rPr lang="ru-RU" altLang="ru-RU" sz="1300" dirty="0" smtClean="0">
                <a:solidFill>
                  <a:prstClr val="black"/>
                </a:solidFill>
              </a:rPr>
              <a:t>физических </a:t>
            </a:r>
            <a:r>
              <a:rPr lang="ru-RU" altLang="ru-RU" sz="1300" dirty="0">
                <a:solidFill>
                  <a:prstClr val="black"/>
                </a:solidFill>
              </a:rPr>
              <a:t>лиц, получивших </a:t>
            </a:r>
            <a:r>
              <a:rPr lang="ru-RU" altLang="ru-RU" sz="1300" dirty="0" smtClean="0">
                <a:solidFill>
                  <a:prstClr val="black"/>
                </a:solidFill>
              </a:rPr>
              <a:t>поддержку,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300" b="1" dirty="0">
                <a:solidFill>
                  <a:srgbClr val="FF0000"/>
                </a:solidFill>
              </a:rPr>
              <a:t>182</a:t>
            </a:r>
            <a:r>
              <a:rPr lang="ru-RU" altLang="ru-RU" sz="1300" dirty="0">
                <a:solidFill>
                  <a:prstClr val="black"/>
                </a:solidFill>
              </a:rPr>
              <a:t> </a:t>
            </a:r>
            <a:r>
              <a:rPr lang="ru-RU" altLang="ru-RU" sz="1300" dirty="0" smtClean="0">
                <a:solidFill>
                  <a:prstClr val="black"/>
                </a:solidFill>
              </a:rPr>
              <a:t>вновь созданных </a:t>
            </a:r>
            <a:r>
              <a:rPr lang="ru-RU" altLang="ru-RU" sz="1300" dirty="0">
                <a:solidFill>
                  <a:prstClr val="black"/>
                </a:solidFill>
              </a:rPr>
              <a:t>рабочих мест </a:t>
            </a:r>
            <a:r>
              <a:rPr lang="ru-RU" altLang="ru-RU" sz="1300" dirty="0" smtClean="0">
                <a:solidFill>
                  <a:prstClr val="black"/>
                </a:solidFill>
              </a:rPr>
              <a:t>субъектами </a:t>
            </a:r>
            <a:r>
              <a:rPr lang="ru-RU" altLang="ru-RU" sz="1300" dirty="0">
                <a:solidFill>
                  <a:prstClr val="black"/>
                </a:solidFill>
              </a:rPr>
              <a:t>МСП, получивших </a:t>
            </a:r>
            <a:r>
              <a:rPr lang="ru-RU" altLang="ru-RU" sz="1300" dirty="0" smtClean="0">
                <a:solidFill>
                  <a:prstClr val="black"/>
                </a:solidFill>
              </a:rPr>
              <a:t>поддержку</a:t>
            </a:r>
            <a:endParaRPr lang="ru-RU" altLang="ru-RU" sz="13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058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410" y="1264479"/>
            <a:ext cx="883562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6410" y="5568553"/>
            <a:ext cx="716756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7" name="TextBox 38"/>
          <p:cNvSpPr txBox="1">
            <a:spLocks noChangeArrowheads="1"/>
          </p:cNvSpPr>
          <p:nvPr/>
        </p:nvSpPr>
        <p:spPr bwMode="auto">
          <a:xfrm>
            <a:off x="83344" y="5654278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13318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00738" y="5484019"/>
            <a:ext cx="1032272" cy="460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CustomShape 1">
            <a:extLst/>
          </p:cNvPr>
          <p:cNvSpPr/>
          <p:nvPr/>
        </p:nvSpPr>
        <p:spPr>
          <a:xfrm>
            <a:off x="696516" y="1674019"/>
            <a:ext cx="8995172" cy="33575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32765" tIns="16382" rIns="32765" bIns="16382"/>
          <a:lstStyle/>
          <a:p>
            <a:pPr eaLnBrk="0" hangingPunct="0">
              <a:defRPr/>
            </a:pPr>
            <a:r>
              <a:rPr lang="ru-RU" sz="1950" b="1" dirty="0">
                <a:solidFill>
                  <a:srgbClr val="ED7D31">
                    <a:lumMod val="75000"/>
                  </a:srgbClr>
                </a:solidFill>
                <a:latin typeface="Roboto Slab"/>
              </a:rPr>
              <a:t>Основные меры поддержки</a:t>
            </a:r>
            <a:endParaRPr sz="1950" dirty="0">
              <a:solidFill>
                <a:srgbClr val="ED7D31">
                  <a:lumMod val="75000"/>
                </a:srgbClr>
              </a:solidFill>
            </a:endParaRPr>
          </a:p>
        </p:txBody>
      </p:sp>
      <p:sp>
        <p:nvSpPr>
          <p:cNvPr id="13320" name="Прямоугольник 23"/>
          <p:cNvSpPr>
            <a:spLocks noChangeArrowheads="1"/>
          </p:cNvSpPr>
          <p:nvPr/>
        </p:nvSpPr>
        <p:spPr bwMode="auto">
          <a:xfrm>
            <a:off x="1096567" y="3370660"/>
            <a:ext cx="2833435" cy="4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Поиск партнеров за рубежом, 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создание площадок для коммуникаций</a:t>
            </a:r>
          </a:p>
        </p:txBody>
      </p:sp>
      <p:sp>
        <p:nvSpPr>
          <p:cNvPr id="13321" name="Прямоугольник 24"/>
          <p:cNvSpPr>
            <a:spLocks noChangeArrowheads="1"/>
          </p:cNvSpPr>
          <p:nvPr/>
        </p:nvSpPr>
        <p:spPr bwMode="auto">
          <a:xfrm>
            <a:off x="1046560" y="2695575"/>
            <a:ext cx="2763440" cy="62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Подбор финансовых инструментов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на льготных условиях  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(кредиты, гарантии, гранты)</a:t>
            </a:r>
          </a:p>
        </p:txBody>
      </p:sp>
      <p:sp>
        <p:nvSpPr>
          <p:cNvPr id="13322" name="Прямоугольник 25"/>
          <p:cNvSpPr>
            <a:spLocks noChangeArrowheads="1"/>
          </p:cNvSpPr>
          <p:nvPr/>
        </p:nvSpPr>
        <p:spPr bwMode="auto">
          <a:xfrm>
            <a:off x="1039416" y="2212182"/>
            <a:ext cx="2656335" cy="4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Обучение, консультационные услуги 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по различным направлениям</a:t>
            </a:r>
          </a:p>
        </p:txBody>
      </p:sp>
      <p:sp>
        <p:nvSpPr>
          <p:cNvPr id="13323" name="Прямоугольник 26"/>
          <p:cNvSpPr>
            <a:spLocks noChangeArrowheads="1"/>
          </p:cNvSpPr>
          <p:nvPr/>
        </p:nvSpPr>
        <p:spPr bwMode="auto">
          <a:xfrm>
            <a:off x="1096566" y="3956447"/>
            <a:ext cx="2402804" cy="62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Информирование об актуальных 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деловых событиях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275">
              <a:solidFill>
                <a:prstClr val="black"/>
              </a:solidFill>
            </a:endParaRPr>
          </a:p>
        </p:txBody>
      </p:sp>
      <p:pic>
        <p:nvPicPr>
          <p:cNvPr id="13324" name="Picture 2" descr="http://image.flaticon.com/icons/png/128/133/133679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2444" y="2817019"/>
            <a:ext cx="394097" cy="35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5" name="Picture 4" descr="http://image.flaticon.com/icons/png/128/133/133667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9588" y="3996928"/>
            <a:ext cx="375047" cy="336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6" name="Picture 2" descr="http://image.flaticon.com/icons/png/128/133/13366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77942" y="3382566"/>
            <a:ext cx="402431" cy="360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7" name="Picture 4" descr="http://image.flaticon.com/icons/png/128/133/133663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6523" y="2850356"/>
            <a:ext cx="320278" cy="28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8" name="Picture 6" descr="http://image.flaticon.com/icons/png/128/133/133668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354" y="2290763"/>
            <a:ext cx="348853" cy="313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9" name="Picture 8" descr="ÐÐºÐ¾Ð½ÐºÐ° Ð½Ð°Ð±Ð¾Ñ Ð¸ÐºÐ¾Ð½Ð¾Ðº Banking Icons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5060" y="3378994"/>
            <a:ext cx="461963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0" name="Picture 10" descr="http://image.flaticon.com/icons/png/128/145/14516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73178" y="2288381"/>
            <a:ext cx="40362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1" name="Picture 12" descr="http://image.flaticon.com/icons/png/128/15/1571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13647" y="3917156"/>
            <a:ext cx="461963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2" name="Picture 14" descr="http://image.flaticon.com/icons/png/128/77/7784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8638" y="5163741"/>
            <a:ext cx="285750" cy="255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33" name="Прямоугольник 36"/>
          <p:cNvSpPr>
            <a:spLocks noChangeArrowheads="1"/>
          </p:cNvSpPr>
          <p:nvPr/>
        </p:nvSpPr>
        <p:spPr bwMode="auto">
          <a:xfrm>
            <a:off x="1046560" y="5092304"/>
            <a:ext cx="3156347" cy="62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Информационная поддержка, истории успеха предпринимателей региона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275">
              <a:solidFill>
                <a:prstClr val="black"/>
              </a:solidFill>
            </a:endParaRPr>
          </a:p>
        </p:txBody>
      </p:sp>
      <p:pic>
        <p:nvPicPr>
          <p:cNvPr id="13334" name="Picture 16" descr="http://image.flaticon.com/icons/png/128/176/176272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20791" y="4482703"/>
            <a:ext cx="461963" cy="41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5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89848" y="5018485"/>
            <a:ext cx="397669" cy="407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36" name="Picture 11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6966" y="4564856"/>
            <a:ext cx="397669" cy="396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37" name="Прямоугольник 40"/>
          <p:cNvSpPr>
            <a:spLocks noChangeArrowheads="1"/>
          </p:cNvSpPr>
          <p:nvPr/>
        </p:nvSpPr>
        <p:spPr bwMode="auto">
          <a:xfrm>
            <a:off x="1039417" y="4451748"/>
            <a:ext cx="3155156" cy="62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Сопровождение инвестпроектов, создание проектов государственно-частного партнерства</a:t>
            </a:r>
          </a:p>
        </p:txBody>
      </p:sp>
      <p:sp>
        <p:nvSpPr>
          <p:cNvPr id="13338" name="Прямоугольник 41"/>
          <p:cNvSpPr>
            <a:spLocks noChangeArrowheads="1"/>
          </p:cNvSpPr>
          <p:nvPr/>
        </p:nvSpPr>
        <p:spPr bwMode="auto">
          <a:xfrm>
            <a:off x="5136356" y="2231232"/>
            <a:ext cx="3357103" cy="4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Помощь в сертификации, получении патентов, 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регистрации торговых марок</a:t>
            </a:r>
          </a:p>
        </p:txBody>
      </p:sp>
      <p:sp>
        <p:nvSpPr>
          <p:cNvPr id="13339" name="Прямоугольник 42"/>
          <p:cNvSpPr>
            <a:spLocks noChangeArrowheads="1"/>
          </p:cNvSpPr>
          <p:nvPr/>
        </p:nvSpPr>
        <p:spPr bwMode="auto">
          <a:xfrm>
            <a:off x="5136356" y="2805113"/>
            <a:ext cx="3743812" cy="4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 dirty="0">
                <a:solidFill>
                  <a:prstClr val="black"/>
                </a:solidFill>
              </a:rPr>
              <a:t>Исследования рынка, 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 dirty="0">
                <a:solidFill>
                  <a:prstClr val="black"/>
                </a:solidFill>
              </a:rPr>
              <a:t>в </a:t>
            </a:r>
            <a:r>
              <a:rPr lang="ru-RU" altLang="ru-RU" sz="1275" dirty="0" smtClean="0">
                <a:solidFill>
                  <a:prstClr val="black"/>
                </a:solidFill>
              </a:rPr>
              <a:t>том числе </a:t>
            </a:r>
            <a:r>
              <a:rPr lang="ru-RU" altLang="ru-RU" sz="1275" dirty="0">
                <a:solidFill>
                  <a:prstClr val="black"/>
                </a:solidFill>
              </a:rPr>
              <a:t>для экспортеров и участников кластеров</a:t>
            </a:r>
          </a:p>
        </p:txBody>
      </p:sp>
      <p:sp>
        <p:nvSpPr>
          <p:cNvPr id="13340" name="Прямоугольник 43"/>
          <p:cNvSpPr>
            <a:spLocks noChangeArrowheads="1"/>
          </p:cNvSpPr>
          <p:nvPr/>
        </p:nvSpPr>
        <p:spPr bwMode="auto">
          <a:xfrm>
            <a:off x="5136357" y="3350419"/>
            <a:ext cx="3593306" cy="4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«Упаковка» проектов, составление бизнес-планов,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 разработка ТЭО</a:t>
            </a:r>
          </a:p>
        </p:txBody>
      </p:sp>
      <p:sp>
        <p:nvSpPr>
          <p:cNvPr id="13341" name="Прямоугольник 44"/>
          <p:cNvSpPr>
            <a:spLocks noChangeArrowheads="1"/>
          </p:cNvSpPr>
          <p:nvPr/>
        </p:nvSpPr>
        <p:spPr bwMode="auto">
          <a:xfrm>
            <a:off x="5136357" y="3912394"/>
            <a:ext cx="3270156" cy="4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Подбор земельных участков, консультации по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земельным вопросам</a:t>
            </a:r>
          </a:p>
        </p:txBody>
      </p:sp>
      <p:sp>
        <p:nvSpPr>
          <p:cNvPr id="13342" name="Прямоугольник 45"/>
          <p:cNvSpPr>
            <a:spLocks noChangeArrowheads="1"/>
          </p:cNvSpPr>
          <p:nvPr/>
        </p:nvSpPr>
        <p:spPr bwMode="auto">
          <a:xfrm>
            <a:off x="5136357" y="4461273"/>
            <a:ext cx="3821906" cy="4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 dirty="0">
                <a:solidFill>
                  <a:prstClr val="black"/>
                </a:solidFill>
              </a:rPr>
              <a:t>Помощь в переводе, в </a:t>
            </a:r>
            <a:r>
              <a:rPr lang="ru-RU" altLang="ru-RU" sz="1275" dirty="0" smtClean="0">
                <a:solidFill>
                  <a:prstClr val="black"/>
                </a:solidFill>
              </a:rPr>
              <a:t>том числе сайтов</a:t>
            </a:r>
            <a:br>
              <a:rPr lang="ru-RU" altLang="ru-RU" sz="1275" dirty="0" smtClean="0">
                <a:solidFill>
                  <a:prstClr val="black"/>
                </a:solidFill>
              </a:rPr>
            </a:br>
            <a:r>
              <a:rPr lang="ru-RU" altLang="ru-RU" sz="1275" dirty="0" smtClean="0">
                <a:solidFill>
                  <a:prstClr val="black"/>
                </a:solidFill>
              </a:rPr>
              <a:t>и </a:t>
            </a:r>
            <a:r>
              <a:rPr lang="ru-RU" altLang="ru-RU" sz="1275" dirty="0">
                <a:solidFill>
                  <a:prstClr val="black"/>
                </a:solidFill>
              </a:rPr>
              <a:t>презентационных </a:t>
            </a:r>
            <a:r>
              <a:rPr lang="ru-RU" altLang="ru-RU" sz="1275" dirty="0" smtClean="0">
                <a:solidFill>
                  <a:prstClr val="black"/>
                </a:solidFill>
              </a:rPr>
              <a:t>материалов</a:t>
            </a:r>
            <a:endParaRPr lang="ru-RU" altLang="ru-RU" sz="1275" dirty="0">
              <a:solidFill>
                <a:prstClr val="black"/>
              </a:solidFill>
            </a:endParaRPr>
          </a:p>
        </p:txBody>
      </p:sp>
      <p:sp>
        <p:nvSpPr>
          <p:cNvPr id="13343" name="Прямоугольник 46"/>
          <p:cNvSpPr>
            <a:spLocks noChangeArrowheads="1"/>
          </p:cNvSpPr>
          <p:nvPr/>
        </p:nvSpPr>
        <p:spPr bwMode="auto">
          <a:xfrm>
            <a:off x="5136357" y="5032773"/>
            <a:ext cx="3926681" cy="229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3289" tIns="16644" rIns="33289" bIns="16644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75">
                <a:solidFill>
                  <a:prstClr val="black"/>
                </a:solidFill>
              </a:rPr>
              <a:t> Помощь КФХ, развитие проектов в сельском хозяйстве</a:t>
            </a:r>
          </a:p>
        </p:txBody>
      </p:sp>
      <p:sp>
        <p:nvSpPr>
          <p:cNvPr id="48" name="Прямоугольник 5"/>
          <p:cNvSpPr>
            <a:spLocks noChangeArrowheads="1"/>
          </p:cNvSpPr>
          <p:nvPr/>
        </p:nvSpPr>
        <p:spPr bwMode="auto">
          <a:xfrm>
            <a:off x="3345996" y="714521"/>
            <a:ext cx="253287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«Мой бизнес»</a:t>
            </a:r>
          </a:p>
        </p:txBody>
      </p:sp>
    </p:spTree>
    <p:extLst>
      <p:ext uri="{BB962C8B-B14F-4D97-AF65-F5344CB8AC3E}">
        <p14:creationId xmlns:p14="http://schemas.microsoft.com/office/powerpoint/2010/main" xmlns="" val="1946261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-30956" y="520911"/>
            <a:ext cx="8974931" cy="5655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и инфраструктуры МСП </a:t>
            </a:r>
          </a:p>
          <a:p>
            <a:pPr algn="ctr" eaLnBrk="0" hangingPunct="0">
              <a:lnSpc>
                <a:spcPct val="85000"/>
              </a:lnSpc>
              <a:defRPr/>
            </a:pPr>
            <a:endParaRPr lang="ru-RU" sz="1500" b="1" dirty="0">
              <a:solidFill>
                <a:srgbClr val="5B9BD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339" name="Группа 12"/>
          <p:cNvGrpSpPr>
            <a:grpSpLocks/>
          </p:cNvGrpSpPr>
          <p:nvPr/>
        </p:nvGrpSpPr>
        <p:grpSpPr bwMode="auto">
          <a:xfrm>
            <a:off x="30956" y="1134532"/>
            <a:ext cx="9144000" cy="211931"/>
            <a:chOff x="101600" y="673598"/>
            <a:chExt cx="8940800" cy="247980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6948065" y="732110"/>
              <a:ext cx="2015172" cy="18946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101600" y="673598"/>
              <a:ext cx="8745220" cy="11702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297180" y="787836"/>
              <a:ext cx="8745220" cy="640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Прямоугольник 9"/>
          <p:cNvSpPr/>
          <p:nvPr/>
        </p:nvSpPr>
        <p:spPr>
          <a:xfrm>
            <a:off x="8442723" y="5684044"/>
            <a:ext cx="702469" cy="2690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CustomShape 4"/>
          <p:cNvSpPr/>
          <p:nvPr/>
        </p:nvSpPr>
        <p:spPr>
          <a:xfrm>
            <a:off x="-146447" y="1077517"/>
            <a:ext cx="58341" cy="11549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" name="Прямоугольник: скругленные углы 27">
            <a:extLst/>
          </p:cNvPr>
          <p:cNvSpPr/>
          <p:nvPr/>
        </p:nvSpPr>
        <p:spPr>
          <a:xfrm>
            <a:off x="355998" y="1828801"/>
            <a:ext cx="5425678" cy="3621881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900" dirty="0">
                <a:solidFill>
                  <a:prstClr val="white"/>
                </a:solidFill>
              </a:rPr>
              <a:t>единым органом управления организациями инфраструктуры МСП </a:t>
            </a:r>
            <a:endParaRPr lang="ru-RU" sz="884" b="1" dirty="0">
              <a:solidFill>
                <a:prstClr val="black"/>
              </a:solidFill>
            </a:endParaRPr>
          </a:p>
        </p:txBody>
      </p:sp>
      <p:sp>
        <p:nvSpPr>
          <p:cNvPr id="14343" name="TextBox 50"/>
          <p:cNvSpPr txBox="1">
            <a:spLocks noChangeArrowheads="1"/>
          </p:cNvSpPr>
          <p:nvPr/>
        </p:nvSpPr>
        <p:spPr bwMode="auto">
          <a:xfrm>
            <a:off x="2506266" y="1888331"/>
            <a:ext cx="113883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 год</a:t>
            </a:r>
          </a:p>
        </p:txBody>
      </p:sp>
      <p:sp>
        <p:nvSpPr>
          <p:cNvPr id="21" name="Прямоугольник: скругленные углы 15">
            <a:extLst/>
          </p:cNvPr>
          <p:cNvSpPr/>
          <p:nvPr/>
        </p:nvSpPr>
        <p:spPr>
          <a:xfrm>
            <a:off x="492523" y="2768111"/>
            <a:ext cx="2632545" cy="808428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О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ство регионального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»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Прямоугольник: скругленные углы 25">
            <a:extLst/>
          </p:cNvPr>
          <p:cNvSpPr/>
          <p:nvPr/>
        </p:nvSpPr>
        <p:spPr>
          <a:xfrm>
            <a:off x="492523" y="3670236"/>
            <a:ext cx="2632544" cy="72056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КК Архангельский региональный фонд «Развитие»</a:t>
            </a:r>
          </a:p>
        </p:txBody>
      </p:sp>
      <p:sp>
        <p:nvSpPr>
          <p:cNvPr id="87" name="Прямоугольник: скругленные углы 22">
            <a:extLst/>
          </p:cNvPr>
          <p:cNvSpPr/>
          <p:nvPr/>
        </p:nvSpPr>
        <p:spPr>
          <a:xfrm>
            <a:off x="492523" y="4515301"/>
            <a:ext cx="2632544" cy="660228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УП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К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рхангельск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14353" name="TextBox 36"/>
          <p:cNvSpPr txBox="1">
            <a:spLocks noChangeArrowheads="1"/>
          </p:cNvSpPr>
          <p:nvPr/>
        </p:nvSpPr>
        <p:spPr bwMode="auto">
          <a:xfrm>
            <a:off x="7031831" y="1901429"/>
            <a:ext cx="113883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 год</a:t>
            </a:r>
          </a:p>
        </p:txBody>
      </p:sp>
      <p:cxnSp>
        <p:nvCxnSpPr>
          <p:cNvPr id="4" name="Прямая со стрелкой 3"/>
          <p:cNvCxnSpPr/>
          <p:nvPr/>
        </p:nvCxnSpPr>
        <p:spPr>
          <a:xfrm>
            <a:off x="3131344" y="3084910"/>
            <a:ext cx="469106" cy="867965"/>
          </a:xfrm>
          <a:prstGeom prst="straightConnector1">
            <a:avLst/>
          </a:prstGeom>
          <a:ln w="5715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: скругленные углы 15">
            <a:extLst/>
          </p:cNvPr>
          <p:cNvSpPr/>
          <p:nvPr/>
        </p:nvSpPr>
        <p:spPr>
          <a:xfrm>
            <a:off x="3622808" y="3272392"/>
            <a:ext cx="2038817" cy="153223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defRPr/>
            </a:pPr>
            <a:endParaRPr lang="ru-RU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defRPr/>
            </a:pPr>
            <a:endParaRPr lang="ru-RU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defRPr/>
            </a:pPr>
            <a:endParaRPr lang="ru-RU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defRPr/>
            </a:pPr>
            <a:endParaRPr lang="ru-RU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defRPr/>
            </a:pPr>
            <a:endParaRPr lang="ru-RU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defRPr/>
            </a:pPr>
            <a:r>
              <a:rPr lang="ru-RU" sz="10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Архангельск </a:t>
            </a:r>
          </a:p>
        </p:txBody>
      </p:sp>
      <p:sp>
        <p:nvSpPr>
          <p:cNvPr id="45" name="Прямоугольник: скругленные углы 27">
            <a:extLst/>
          </p:cNvPr>
          <p:cNvSpPr/>
          <p:nvPr/>
        </p:nvSpPr>
        <p:spPr>
          <a:xfrm>
            <a:off x="6194823" y="1824038"/>
            <a:ext cx="2672953" cy="3626644"/>
          </a:xfrm>
          <a:prstGeom prst="roundRect">
            <a:avLst/>
          </a:prstGeom>
          <a:noFill/>
          <a:ln w="381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900" dirty="0">
                <a:solidFill>
                  <a:prstClr val="white"/>
                </a:solidFill>
              </a:rPr>
              <a:t>единым органом управления организациями инфраструктуры МСП </a:t>
            </a:r>
            <a:endParaRPr lang="ru-RU" sz="884" b="1" dirty="0">
              <a:solidFill>
                <a:prstClr val="black"/>
              </a:solidFill>
            </a:endParaRPr>
          </a:p>
        </p:txBody>
      </p:sp>
      <p:cxnSp>
        <p:nvCxnSpPr>
          <p:cNvPr id="46" name="Прямая со стрелкой 45"/>
          <p:cNvCxnSpPr/>
          <p:nvPr/>
        </p:nvCxnSpPr>
        <p:spPr>
          <a:xfrm>
            <a:off x="3125391" y="3084910"/>
            <a:ext cx="3537347" cy="50006"/>
          </a:xfrm>
          <a:prstGeom prst="straightConnector1">
            <a:avLst/>
          </a:prstGeom>
          <a:ln w="5715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: скругленные углы 15">
            <a:extLst/>
          </p:cNvPr>
          <p:cNvSpPr/>
          <p:nvPr/>
        </p:nvSpPr>
        <p:spPr>
          <a:xfrm>
            <a:off x="6681127" y="2918924"/>
            <a:ext cx="1786281" cy="808428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</a:t>
            </a:r>
          </a:p>
          <a:p>
            <a:pPr algn="ctr" eaLnBrk="0" hangingPunct="0">
              <a:defRPr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ой бизнес»</a:t>
            </a:r>
          </a:p>
          <a:p>
            <a:pPr algn="ctr" eaLnBrk="0" hangingPunct="0">
              <a:defRPr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Котлас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05662" y="2143125"/>
            <a:ext cx="4926350" cy="55399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0" hangingPunct="0">
              <a:defRPr/>
            </a:pPr>
            <a:r>
              <a:rPr lang="ru-RU" sz="15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 единый орган управления </a:t>
            </a:r>
          </a:p>
          <a:p>
            <a:pPr algn="ctr" eaLnBrk="0" hangingPunct="0">
              <a:defRPr/>
            </a:pPr>
            <a:r>
              <a:rPr lang="ru-RU" sz="15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ми инфраструктуры поддержки МСП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300419" y="2215256"/>
            <a:ext cx="24935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тие представительства</a:t>
            </a:r>
          </a:p>
        </p:txBody>
      </p:sp>
      <p:pic>
        <p:nvPicPr>
          <p:cNvPr id="1436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67112" y="3339704"/>
            <a:ext cx="2071688" cy="1306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Рисунок 25">
            <a:extLst/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658"/>
          <a:stretch/>
        </p:blipFill>
        <p:spPr>
          <a:xfrm>
            <a:off x="6374069" y="3814267"/>
            <a:ext cx="2314293" cy="140206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4368" name="TextBox 38"/>
          <p:cNvSpPr txBox="1">
            <a:spLocks noChangeArrowheads="1"/>
          </p:cNvSpPr>
          <p:nvPr/>
        </p:nvSpPr>
        <p:spPr bwMode="auto">
          <a:xfrm>
            <a:off x="133350" y="5654278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14369" name="Рисунок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77076" y="5576888"/>
            <a:ext cx="784622" cy="35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148648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88105" y="624235"/>
            <a:ext cx="8974932" cy="5655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поддержки предпринимательства</a:t>
            </a:r>
          </a:p>
          <a:p>
            <a:pPr algn="ctr" eaLnBrk="0" hangingPunct="0">
              <a:lnSpc>
                <a:spcPct val="85000"/>
              </a:lnSpc>
              <a:defRPr/>
            </a:pPr>
            <a:endParaRPr lang="ru-RU" sz="1500" b="1" dirty="0">
              <a:solidFill>
                <a:srgbClr val="5B9BD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387" name="Группа 12"/>
          <p:cNvGrpSpPr>
            <a:grpSpLocks/>
          </p:cNvGrpSpPr>
          <p:nvPr/>
        </p:nvGrpSpPr>
        <p:grpSpPr bwMode="auto">
          <a:xfrm>
            <a:off x="0" y="1108412"/>
            <a:ext cx="9144000" cy="211931"/>
            <a:chOff x="101600" y="673598"/>
            <a:chExt cx="8940800" cy="247980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6948065" y="732110"/>
              <a:ext cx="2015172" cy="18946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101600" y="673598"/>
              <a:ext cx="8745220" cy="11702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297180" y="787836"/>
              <a:ext cx="8745220" cy="640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Прямоугольник 9"/>
          <p:cNvSpPr/>
          <p:nvPr/>
        </p:nvSpPr>
        <p:spPr>
          <a:xfrm>
            <a:off x="8442723" y="5684044"/>
            <a:ext cx="702469" cy="2690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CustomShape 4"/>
          <p:cNvSpPr/>
          <p:nvPr/>
        </p:nvSpPr>
        <p:spPr>
          <a:xfrm>
            <a:off x="-146447" y="1077517"/>
            <a:ext cx="58341" cy="11549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391" name="TextBox 38"/>
          <p:cNvSpPr txBox="1">
            <a:spLocks noChangeArrowheads="1"/>
          </p:cNvSpPr>
          <p:nvPr/>
        </p:nvSpPr>
        <p:spPr bwMode="auto">
          <a:xfrm>
            <a:off x="133350" y="5654278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16392" name="Рисунок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77076" y="5576888"/>
            <a:ext cx="784622" cy="35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59568" y="3327155"/>
            <a:ext cx="2561035" cy="1787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3119776" y="4340719"/>
            <a:ext cx="390525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ru-RU" b="1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в 2019 году</a:t>
            </a:r>
          </a:p>
          <a:p>
            <a:pPr eaLnBrk="0" hangingPunct="0">
              <a:defRPr/>
            </a:pPr>
            <a:r>
              <a:rPr lang="ru-RU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ЦПП помог </a:t>
            </a:r>
            <a:r>
              <a:rPr lang="ru-RU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27 представителям </a:t>
            </a:r>
            <a:r>
              <a:rPr lang="ru-RU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малого и </a:t>
            </a:r>
            <a:r>
              <a:rPr lang="ru-RU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среднего бизнеса принять </a:t>
            </a:r>
            <a:r>
              <a:rPr lang="ru-RU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участие в </a:t>
            </a:r>
            <a:r>
              <a:rPr lang="ru-RU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8 всероссийских выставках </a:t>
            </a:r>
          </a:p>
        </p:txBody>
      </p:sp>
      <p:pic>
        <p:nvPicPr>
          <p:cNvPr id="16395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3613760"/>
            <a:ext cx="2521744" cy="178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2646883" y="3463826"/>
            <a:ext cx="3293269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ru-RU" b="1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в 2019 году </a:t>
            </a:r>
            <a:r>
              <a:rPr lang="ru-RU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оказано 13 услуг по регистрации товарных </a:t>
            </a:r>
          </a:p>
          <a:p>
            <a:pPr algn="r" eaLnBrk="0" hangingPunct="0">
              <a:defRPr/>
            </a:pPr>
            <a:r>
              <a:rPr lang="ru-RU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знаков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568054" y="2165082"/>
            <a:ext cx="446449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hangingPunct="0">
              <a:defRPr/>
            </a:pPr>
            <a:r>
              <a:rPr lang="ru-RU" b="1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в 2019 году </a:t>
            </a:r>
            <a:r>
              <a:rPr lang="ru-RU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оказано 448 консультационных </a:t>
            </a:r>
            <a:r>
              <a:rPr lang="ru-RU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услуг и </a:t>
            </a:r>
            <a:r>
              <a:rPr lang="ru-RU" dirty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проведено 47 </a:t>
            </a:r>
            <a:r>
              <a:rPr lang="ru-RU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мероприятий для субъектов МСП и физических лиц</a:t>
            </a:r>
            <a:endParaRPr lang="ru-RU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r" eaLnBrk="0" hangingPunct="0">
              <a:defRPr/>
            </a:pPr>
            <a:r>
              <a:rPr lang="ru-RU" dirty="0" smtClean="0">
                <a:solidFill>
                  <a:srgbClr val="5B9BD5">
                    <a:lumMod val="50000"/>
                  </a:srgbClr>
                </a:solidFill>
                <a:latin typeface="Calibri" panose="020F0502020204030204" pitchFamily="34" charset="0"/>
              </a:rPr>
              <a:t>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83781" y="1763081"/>
            <a:ext cx="2353609" cy="165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4895245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0260" y="1353606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706090" y="809253"/>
            <a:ext cx="8427244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 «Популяризация предпринимательства в Архангельской области»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434579" y="2421731"/>
            <a:ext cx="3968353" cy="107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434579" y="3965972"/>
            <a:ext cx="39683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434579" y="3199210"/>
            <a:ext cx="3968353" cy="83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H="1">
            <a:off x="1158479" y="2021681"/>
            <a:ext cx="0" cy="2819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41" name="TextBox 35"/>
          <p:cNvSpPr txBox="1">
            <a:spLocks noChangeArrowheads="1"/>
          </p:cNvSpPr>
          <p:nvPr/>
        </p:nvSpPr>
        <p:spPr bwMode="auto">
          <a:xfrm>
            <a:off x="713185" y="1846660"/>
            <a:ext cx="385286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b="1">
                <a:solidFill>
                  <a:prstClr val="black"/>
                </a:solidFill>
                <a:ea typeface="Open Sans"/>
                <a:cs typeface="Open Sans"/>
              </a:rPr>
              <a:t>Основные мероприятия, в которых участвует регион:</a:t>
            </a:r>
          </a:p>
        </p:txBody>
      </p:sp>
      <p:sp>
        <p:nvSpPr>
          <p:cNvPr id="18442" name="TextBox 37"/>
          <p:cNvSpPr txBox="1">
            <a:spLocks noChangeArrowheads="1"/>
          </p:cNvSpPr>
          <p:nvPr/>
        </p:nvSpPr>
        <p:spPr bwMode="auto">
          <a:xfrm>
            <a:off x="1310879" y="2576512"/>
            <a:ext cx="325397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dirty="0">
                <a:solidFill>
                  <a:prstClr val="black"/>
                </a:solidFill>
              </a:rPr>
              <a:t>Формирование положительного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dirty="0">
                <a:solidFill>
                  <a:prstClr val="black"/>
                </a:solidFill>
              </a:rPr>
              <a:t>образа предпринимателей</a:t>
            </a:r>
          </a:p>
        </p:txBody>
      </p:sp>
      <p:sp>
        <p:nvSpPr>
          <p:cNvPr id="18443" name="Прямоугольник 38"/>
          <p:cNvSpPr>
            <a:spLocks noChangeArrowheads="1"/>
          </p:cNvSpPr>
          <p:nvPr/>
        </p:nvSpPr>
        <p:spPr bwMode="auto">
          <a:xfrm>
            <a:off x="1310879" y="3328987"/>
            <a:ext cx="331231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  <a:ea typeface="Open Sans"/>
                <a:cs typeface="Open Sans"/>
              </a:rPr>
              <a:t>Выявление предпринимательских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  <a:ea typeface="Open Sans"/>
                <a:cs typeface="Open Sans"/>
              </a:rPr>
              <a:t>способностей</a:t>
            </a:r>
            <a:endParaRPr lang="ru-RU" altLang="ru-RU" sz="1500">
              <a:solidFill>
                <a:prstClr val="black"/>
              </a:solidFill>
            </a:endParaRPr>
          </a:p>
        </p:txBody>
      </p:sp>
      <p:grpSp>
        <p:nvGrpSpPr>
          <p:cNvPr id="40" name="Group 28"/>
          <p:cNvGrpSpPr/>
          <p:nvPr/>
        </p:nvGrpSpPr>
        <p:grpSpPr>
          <a:xfrm>
            <a:off x="376460" y="2533284"/>
            <a:ext cx="659263" cy="659263"/>
            <a:chOff x="4337328" y="1577112"/>
            <a:chExt cx="879017" cy="879017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1" name="Oval 6"/>
            <p:cNvSpPr/>
            <p:nvPr/>
          </p:nvSpPr>
          <p:spPr>
            <a:xfrm>
              <a:off x="4511824" y="1772816"/>
              <a:ext cx="503170" cy="503170"/>
            </a:xfrm>
            <a:prstGeom prst="ellipse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0" hangingPunct="0">
                <a:spcBef>
                  <a:spcPts val="1800"/>
                </a:spcBef>
                <a:defRPr/>
              </a:pPr>
              <a:r>
                <a:rPr lang="ru-RU" sz="2700" dirty="0">
                  <a:solidFill>
                    <a:prstClr val="white"/>
                  </a:solidFill>
                  <a:latin typeface="Calibri Light" panose="020F0302020204030204"/>
                </a:rPr>
                <a:t>1</a:t>
              </a:r>
            </a:p>
          </p:txBody>
        </p:sp>
        <p:sp>
          <p:nvSpPr>
            <p:cNvPr id="42" name="Block Arc 19"/>
            <p:cNvSpPr/>
            <p:nvPr/>
          </p:nvSpPr>
          <p:spPr>
            <a:xfrm>
              <a:off x="4337328" y="1577112"/>
              <a:ext cx="879017" cy="879017"/>
            </a:xfrm>
            <a:prstGeom prst="blockArc">
              <a:avLst>
                <a:gd name="adj1" fmla="val 16071509"/>
                <a:gd name="adj2" fmla="val 21010"/>
                <a:gd name="adj3" fmla="val 18894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43" name="Group 27"/>
          <p:cNvGrpSpPr/>
          <p:nvPr/>
        </p:nvGrpSpPr>
        <p:grpSpPr>
          <a:xfrm>
            <a:off x="376459" y="3237795"/>
            <a:ext cx="659263" cy="659263"/>
            <a:chOff x="4337928" y="2434062"/>
            <a:chExt cx="879017" cy="879017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5" name="Oval 6"/>
            <p:cNvSpPr/>
            <p:nvPr/>
          </p:nvSpPr>
          <p:spPr>
            <a:xfrm>
              <a:off x="4511824" y="2597234"/>
              <a:ext cx="503170" cy="503170"/>
            </a:xfrm>
            <a:prstGeom prst="ellipse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0" hangingPunct="0">
                <a:spcBef>
                  <a:spcPts val="1800"/>
                </a:spcBef>
                <a:defRPr/>
              </a:pPr>
              <a:r>
                <a:rPr lang="ru-RU" sz="2700" dirty="0">
                  <a:solidFill>
                    <a:prstClr val="white"/>
                  </a:solidFill>
                  <a:latin typeface="Calibri Light" panose="020F0302020204030204"/>
                </a:rPr>
                <a:t>2</a:t>
              </a:r>
            </a:p>
          </p:txBody>
        </p:sp>
        <p:sp>
          <p:nvSpPr>
            <p:cNvPr id="46" name="Block Arc 20"/>
            <p:cNvSpPr/>
            <p:nvPr/>
          </p:nvSpPr>
          <p:spPr>
            <a:xfrm rot="5400000">
              <a:off x="4337928" y="2434062"/>
              <a:ext cx="879017" cy="879017"/>
            </a:xfrm>
            <a:prstGeom prst="blockArc">
              <a:avLst>
                <a:gd name="adj1" fmla="val 16071509"/>
                <a:gd name="adj2" fmla="val 21010"/>
                <a:gd name="adj3" fmla="val 18894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47" name="Group 26"/>
          <p:cNvGrpSpPr/>
          <p:nvPr/>
        </p:nvGrpSpPr>
        <p:grpSpPr>
          <a:xfrm>
            <a:off x="376459" y="3965555"/>
            <a:ext cx="659263" cy="659263"/>
            <a:chOff x="4315854" y="3258096"/>
            <a:chExt cx="879017" cy="879017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8" name="Oval 6"/>
            <p:cNvSpPr/>
            <p:nvPr/>
          </p:nvSpPr>
          <p:spPr>
            <a:xfrm>
              <a:off x="4511824" y="3431691"/>
              <a:ext cx="503170" cy="503170"/>
            </a:xfrm>
            <a:prstGeom prst="ellipse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0" hangingPunct="0">
                <a:spcBef>
                  <a:spcPts val="1800"/>
                </a:spcBef>
                <a:defRPr/>
              </a:pPr>
              <a:r>
                <a:rPr lang="ru-RU" sz="2700" dirty="0">
                  <a:solidFill>
                    <a:prstClr val="white"/>
                  </a:solidFill>
                  <a:latin typeface="Calibri Light" panose="020F0302020204030204"/>
                </a:rPr>
                <a:t>3</a:t>
              </a:r>
            </a:p>
          </p:txBody>
        </p:sp>
        <p:sp>
          <p:nvSpPr>
            <p:cNvPr id="49" name="Block Arc 23"/>
            <p:cNvSpPr/>
            <p:nvPr/>
          </p:nvSpPr>
          <p:spPr>
            <a:xfrm rot="10800000">
              <a:off x="4315854" y="3258096"/>
              <a:ext cx="879017" cy="879017"/>
            </a:xfrm>
            <a:prstGeom prst="blockArc">
              <a:avLst>
                <a:gd name="adj1" fmla="val 16071509"/>
                <a:gd name="adj2" fmla="val 21010"/>
                <a:gd name="adj3" fmla="val 18894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18447" name="Прямоугольник 5"/>
          <p:cNvSpPr>
            <a:spLocks noChangeArrowheads="1"/>
          </p:cNvSpPr>
          <p:nvPr/>
        </p:nvSpPr>
        <p:spPr bwMode="auto">
          <a:xfrm>
            <a:off x="1314451" y="4075510"/>
            <a:ext cx="3223831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  <a:ea typeface="Open Sans"/>
                <a:cs typeface="Open Sans"/>
              </a:rPr>
              <a:t>Вовлечение в предпринимательскую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  <a:ea typeface="Open Sans"/>
                <a:cs typeface="Open Sans"/>
              </a:rPr>
              <a:t>деятельность</a:t>
            </a:r>
            <a:endParaRPr lang="ru-RU" altLang="ru-RU" sz="1500">
              <a:solidFill>
                <a:prstClr val="black"/>
              </a:solidFill>
            </a:endParaRPr>
          </a:p>
        </p:txBody>
      </p:sp>
      <p:sp>
        <p:nvSpPr>
          <p:cNvPr id="18448" name="TextBox 60"/>
          <p:cNvSpPr txBox="1">
            <a:spLocks noChangeArrowheads="1"/>
          </p:cNvSpPr>
          <p:nvPr/>
        </p:nvSpPr>
        <p:spPr bwMode="auto">
          <a:xfrm>
            <a:off x="170260" y="5725716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13438567"/>
              </p:ext>
            </p:extLst>
          </p:nvPr>
        </p:nvGraphicFramePr>
        <p:xfrm>
          <a:off x="4722019" y="1813323"/>
          <a:ext cx="3962400" cy="37576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82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82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4151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824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Показатель</a:t>
                      </a:r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/>
                        <a:t>План </a:t>
                      </a:r>
                    </a:p>
                    <a:p>
                      <a:pPr algn="ctr">
                        <a:defRPr/>
                      </a:pPr>
                      <a:r>
                        <a:rPr lang="ru-RU" sz="1100" b="1" dirty="0" smtClean="0"/>
                        <a:t>2019 </a:t>
                      </a:r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/>
                        <a:t>Факт </a:t>
                      </a:r>
                    </a:p>
                    <a:p>
                      <a:pPr algn="ctr">
                        <a:defRPr/>
                      </a:pPr>
                      <a:r>
                        <a:rPr lang="ru-RU" sz="1100" b="1" dirty="0" smtClean="0"/>
                        <a:t>2019 </a:t>
                      </a:r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План 2024</a:t>
                      </a:r>
                    </a:p>
                  </a:txBody>
                  <a:tcPr marL="68585" marR="68585" marT="34292" marB="34292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6955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Количество физических лиц - участников федерального</a:t>
                      </a:r>
                    </a:p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проекта, занятых в сфере малого и среднего предпринимательства, </a:t>
                      </a:r>
                    </a:p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человек</a:t>
                      </a:r>
                    </a:p>
                  </a:txBody>
                  <a:tcPr marL="68585" marR="68585" marT="34292" marB="34292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242</a:t>
                      </a:r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242</a:t>
                      </a:r>
                      <a:endParaRPr lang="ru-RU" sz="1100" b="1" dirty="0"/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967</a:t>
                      </a:r>
                    </a:p>
                  </a:txBody>
                  <a:tcPr marL="68585" marR="68585" marT="34292" marB="34292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1234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Количество вновь созданных субъектов МСП участниками проекта, единиц</a:t>
                      </a:r>
                    </a:p>
                  </a:txBody>
                  <a:tcPr marL="68585" marR="68585" marT="34292" marB="34292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71</a:t>
                      </a:r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71</a:t>
                      </a:r>
                      <a:endParaRPr lang="ru-RU" sz="1100" b="1" dirty="0"/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178</a:t>
                      </a:r>
                    </a:p>
                  </a:txBody>
                  <a:tcPr marL="68585" marR="68585" marT="34292" marB="34292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8091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Количество обученных основам ведения бизнеса,</a:t>
                      </a:r>
                    </a:p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финансовой грамотности и иным навыкам</a:t>
                      </a:r>
                    </a:p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предпринимательской деятельности, человек</a:t>
                      </a:r>
                    </a:p>
                  </a:txBody>
                  <a:tcPr marL="68585" marR="68585" marT="34292" marB="34292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725</a:t>
                      </a:r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817</a:t>
                      </a:r>
                      <a:endParaRPr lang="ru-RU" sz="1100" b="1" dirty="0"/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</a:rPr>
                        <a:t> 482</a:t>
                      </a:r>
                      <a:endParaRPr lang="ru-RU" sz="1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85" marR="68585" marT="34292" marB="34292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1234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Количество физических лиц - участников федерального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</a:rPr>
                        <a:t> п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роекта, человек</a:t>
                      </a:r>
                    </a:p>
                  </a:txBody>
                  <a:tcPr marL="68585" marR="68585" marT="34292" marB="34292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3 962</a:t>
                      </a:r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3 983</a:t>
                      </a:r>
                      <a:endParaRPr lang="ru-RU" sz="1100" b="1" dirty="0"/>
                    </a:p>
                  </a:txBody>
                  <a:tcPr marL="68585" marR="68585" marT="34292" marB="342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</a:rPr>
                        <a:t> 162</a:t>
                      </a:r>
                      <a:endParaRPr lang="ru-RU" sz="1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85" marR="68585" marT="34292" marB="34292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8481" name="Прямоугольник 4"/>
          <p:cNvSpPr>
            <a:spLocks noChangeArrowheads="1"/>
          </p:cNvSpPr>
          <p:nvPr/>
        </p:nvSpPr>
        <p:spPr bwMode="auto">
          <a:xfrm>
            <a:off x="117873" y="4783931"/>
            <a:ext cx="4554140" cy="900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i="1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Соисполнитель</a:t>
            </a:r>
          </a:p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050" b="1" i="1" dirty="0">
              <a:solidFill>
                <a:prstClr val="black"/>
              </a:solidFill>
              <a:latin typeface="+mn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i="1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 Управление по делам молодежи и патриотическому воспитанию администрации Губернатора Архангельской области и Правительства Архангельской области</a:t>
            </a:r>
            <a:endParaRPr lang="ru-RU" altLang="ru-RU" sz="1050" b="1" i="1" dirty="0">
              <a:solidFill>
                <a:prstClr val="black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1216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27584" y="330269"/>
            <a:ext cx="7488832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сматриваемые подпрограммы государственной программы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94721" y="828504"/>
            <a:ext cx="8940800" cy="219990"/>
            <a:chOff x="101600" y="701588"/>
            <a:chExt cx="8940800" cy="21999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6948422" y="731827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Text Box 4"/>
          <p:cNvSpPr txBox="1">
            <a:spLocks noChangeArrowheads="1"/>
          </p:cNvSpPr>
          <p:nvPr/>
        </p:nvSpPr>
        <p:spPr bwMode="auto">
          <a:xfrm>
            <a:off x="332298" y="1412776"/>
            <a:ext cx="8665646" cy="3970318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№ 1 «Формирование благоприятной среды 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я инвестиционной 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и»</a:t>
            </a:r>
          </a:p>
          <a:p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  <a:hlinkClick r:id=""/>
            </a:endParaRPr>
          </a:p>
          <a:p>
            <a:endParaRPr lang="ru-RU" b="0" dirty="0" smtClean="0">
              <a:latin typeface="Times New Roman" panose="02020603050405020304" pitchFamily="18" charset="0"/>
              <a:cs typeface="Times New Roman" panose="02020603050405020304" pitchFamily="18" charset="0"/>
              <a:hlinkClick r:id="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№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субъектов малого и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днего предпринимательства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Архангельской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» </a:t>
            </a:r>
            <a:endParaRPr lang="ru-RU" dirty="0" smtClean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b="0" dirty="0" smtClean="0">
              <a:solidFill>
                <a:srgbClr val="96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b="0" dirty="0">
              <a:solidFill>
                <a:srgbClr val="96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№ 6 «Развитие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мышленности в Архангельской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»</a:t>
            </a:r>
            <a:endParaRPr lang="ru-RU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0" dirty="0" smtClean="0">
                <a:solidFill>
                  <a:srgbClr val="96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</a:p>
          <a:p>
            <a:endParaRPr lang="ru-RU" b="0" dirty="0">
              <a:solidFill>
                <a:srgbClr val="96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b="0" dirty="0" smtClean="0">
              <a:solidFill>
                <a:srgbClr val="96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0" dirty="0">
                <a:solidFill>
                  <a:srgbClr val="96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исполнитель - министерство экономического развития </a:t>
            </a:r>
            <a:r>
              <a:rPr lang="ru-RU" b="0" dirty="0" smtClean="0">
                <a:solidFill>
                  <a:srgbClr val="96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0" dirty="0" smtClean="0">
                <a:solidFill>
                  <a:srgbClr val="96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0" dirty="0" smtClean="0">
                <a:solidFill>
                  <a:srgbClr val="96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хангельской </a:t>
            </a:r>
            <a:r>
              <a:rPr lang="ru-RU" b="0" dirty="0">
                <a:solidFill>
                  <a:srgbClr val="96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</a:t>
            </a:r>
            <a:endParaRPr lang="ru-RU" b="0" dirty="0">
              <a:solidFill>
                <a:srgbClr val="9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12208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9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1065487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697673" y="564000"/>
            <a:ext cx="8427244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 «Популяризация предпринимательства в Архангельской области»</a:t>
            </a:r>
          </a:p>
        </p:txBody>
      </p:sp>
      <p:sp>
        <p:nvSpPr>
          <p:cNvPr id="19461" name="TextBox 60"/>
          <p:cNvSpPr txBox="1">
            <a:spLocks noChangeArrowheads="1"/>
          </p:cNvSpPr>
          <p:nvPr/>
        </p:nvSpPr>
        <p:spPr bwMode="auto">
          <a:xfrm>
            <a:off x="108347" y="5668566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4438650"/>
            <a:ext cx="4187429" cy="34171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Font typeface="Arial" charset="0"/>
              <a:buNone/>
              <a:defRPr/>
            </a:pPr>
            <a:r>
              <a:rPr lang="ru-RU" altLang="ru-RU" sz="1050" b="1" dirty="0">
                <a:solidFill>
                  <a:prstClr val="white"/>
                </a:solidFill>
              </a:rPr>
              <a:t>Региональный этап Всероссийского конкурса «Молодой предприниматель России»</a:t>
            </a:r>
          </a:p>
        </p:txBody>
      </p:sp>
      <p:pic>
        <p:nvPicPr>
          <p:cNvPr id="19463" name="Рисунок 6" descr="D:\1 ЗЕРНОВА\2 ПРЕДПРИНИМАТЕЛЬСТВО\1 2020\ПРЕЗЕНТАЦИЯ ЗА 2019\XHt04-achi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211" b="17534"/>
          <a:stretch>
            <a:fillRect/>
          </a:stretch>
        </p:blipFill>
        <p:spPr bwMode="auto">
          <a:xfrm>
            <a:off x="4212431" y="4046935"/>
            <a:ext cx="3519488" cy="1453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0" y="4774407"/>
            <a:ext cx="4187429" cy="36909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altLang="ru-RU" sz="1050" b="1" dirty="0">
                <a:solidFill>
                  <a:prstClr val="white"/>
                </a:solidFill>
              </a:rPr>
              <a:t>Программа по наставничеству для начинающих предпринимателей</a:t>
            </a:r>
            <a:endParaRPr lang="ru-RU" sz="1050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5137548"/>
            <a:ext cx="4187429" cy="36909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altLang="ru-RU" sz="1050" b="1" dirty="0">
                <a:solidFill>
                  <a:prstClr val="white"/>
                </a:solidFill>
              </a:rPr>
              <a:t>Форум предпринимателей</a:t>
            </a:r>
          </a:p>
          <a:p>
            <a:pPr algn="ctr" eaLnBrk="0" hangingPunct="0">
              <a:defRPr/>
            </a:pPr>
            <a:r>
              <a:rPr lang="ru-RU" altLang="ru-RU" sz="1050" b="1" dirty="0">
                <a:solidFill>
                  <a:prstClr val="white"/>
                </a:solidFill>
              </a:rPr>
              <a:t>Итоговый Региональный конгресс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0" y="4088607"/>
            <a:ext cx="4187429" cy="36909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Участие молодых предпринимателей региона в межрегиональных, общероссийских, международных мероприятиях</a:t>
            </a:r>
            <a:endParaRPr lang="ru-RU" sz="1050" dirty="0">
              <a:solidFill>
                <a:srgbClr val="5B9BD5">
                  <a:lumMod val="50000"/>
                </a:srgbClr>
              </a:solidFill>
            </a:endParaRPr>
          </a:p>
        </p:txBody>
      </p:sp>
      <p:pic>
        <p:nvPicPr>
          <p:cNvPr id="19467" name="Рисунок 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424" t="26996" r="29865" b="35539"/>
          <a:stretch>
            <a:fillRect/>
          </a:stretch>
        </p:blipFill>
        <p:spPr bwMode="auto">
          <a:xfrm>
            <a:off x="5972175" y="1446610"/>
            <a:ext cx="3171825" cy="1878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8" name="Рисунок 12" descr="D:\1 ЗЕРНОВА\2 ПРЕДПРИНИМАТЕЛЬСТВО\1 2020\ПРЕЗЕНТАЦИЯ ЗА 2019\AaVB8GqIUi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8924" r="21"/>
          <a:stretch>
            <a:fillRect/>
          </a:stretch>
        </p:blipFill>
        <p:spPr bwMode="auto">
          <a:xfrm>
            <a:off x="6191250" y="2980135"/>
            <a:ext cx="1514475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Овал 13"/>
          <p:cNvSpPr/>
          <p:nvPr/>
        </p:nvSpPr>
        <p:spPr>
          <a:xfrm>
            <a:off x="3786989" y="1636865"/>
            <a:ext cx="2585228" cy="2548156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 sz="900" b="1" dirty="0">
              <a:solidFill>
                <a:prstClr val="white"/>
              </a:solidFill>
            </a:endParaRPr>
          </a:p>
          <a:p>
            <a:pPr algn="ctr" eaLnBrk="0" hangingPunct="0">
              <a:defRPr/>
            </a:pPr>
            <a:r>
              <a:rPr lang="ru-RU" sz="1500" b="1" dirty="0">
                <a:solidFill>
                  <a:prstClr val="white"/>
                </a:solidFill>
              </a:rPr>
              <a:t>28</a:t>
            </a:r>
            <a:r>
              <a:rPr lang="ru-RU" sz="1200" b="1" dirty="0">
                <a:solidFill>
                  <a:prstClr val="white"/>
                </a:solidFill>
              </a:rPr>
              <a:t> вновь созданных субъектов МСП</a:t>
            </a:r>
          </a:p>
          <a:p>
            <a:pPr algn="ctr" eaLnBrk="0" hangingPunct="0">
              <a:defRPr/>
            </a:pPr>
            <a:endParaRPr lang="ru-RU" sz="900" b="1" dirty="0">
              <a:solidFill>
                <a:prstClr val="white"/>
              </a:solidFill>
            </a:endParaRPr>
          </a:p>
          <a:p>
            <a:pPr algn="ctr" eaLnBrk="0" hangingPunct="0">
              <a:defRPr/>
            </a:pPr>
            <a:r>
              <a:rPr lang="ru-RU" sz="1500" b="1" dirty="0">
                <a:solidFill>
                  <a:prstClr val="white"/>
                </a:solidFill>
              </a:rPr>
              <a:t>100</a:t>
            </a:r>
            <a:r>
              <a:rPr lang="ru-RU" sz="1200" b="1" dirty="0">
                <a:solidFill>
                  <a:prstClr val="white"/>
                </a:solidFill>
              </a:rPr>
              <a:t> физических лиц – участников проекта, занятых в сфере МСП</a:t>
            </a:r>
          </a:p>
          <a:p>
            <a:pPr algn="ctr" eaLnBrk="0" hangingPunct="0">
              <a:defRPr/>
            </a:pPr>
            <a:endParaRPr lang="ru-RU" sz="900" b="1" dirty="0">
              <a:solidFill>
                <a:prstClr val="white"/>
              </a:solidFill>
            </a:endParaRPr>
          </a:p>
          <a:p>
            <a:pPr algn="ctr" eaLnBrk="0" hangingPunct="0">
              <a:defRPr/>
            </a:pPr>
            <a:r>
              <a:rPr lang="ru-RU" sz="1500" b="1" dirty="0">
                <a:solidFill>
                  <a:prstClr val="white"/>
                </a:solidFill>
              </a:rPr>
              <a:t>449</a:t>
            </a:r>
            <a:r>
              <a:rPr lang="ru-RU" sz="1200" b="1" dirty="0">
                <a:solidFill>
                  <a:prstClr val="white"/>
                </a:solidFill>
              </a:rPr>
              <a:t> обученных основам ведения бизнеса</a:t>
            </a:r>
          </a:p>
          <a:p>
            <a:pPr algn="ctr" eaLnBrk="0" hangingPunct="0">
              <a:defRPr/>
            </a:pPr>
            <a:endParaRPr lang="ru-RU" sz="900" b="1" dirty="0">
              <a:solidFill>
                <a:prstClr val="white"/>
              </a:solidFill>
            </a:endParaRPr>
          </a:p>
          <a:p>
            <a:pPr algn="ctr" eaLnBrk="0" hangingPunct="0">
              <a:defRPr/>
            </a:pPr>
            <a:r>
              <a:rPr lang="ru-RU" sz="1500" b="1" dirty="0">
                <a:solidFill>
                  <a:prstClr val="white"/>
                </a:solidFill>
              </a:rPr>
              <a:t>3462</a:t>
            </a:r>
            <a:r>
              <a:rPr lang="ru-RU" sz="1200" b="1" dirty="0">
                <a:solidFill>
                  <a:prstClr val="white"/>
                </a:solidFill>
              </a:rPr>
              <a:t> участников проект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0" y="2034779"/>
            <a:ext cx="4187429" cy="400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Font typeface="Arial" charset="0"/>
              <a:buNone/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Тестирование участников </a:t>
            </a:r>
          </a:p>
          <a:p>
            <a:pPr algn="ctr" eaLnBrk="0" hangingPunct="0">
              <a:buFont typeface="Arial" charset="0"/>
              <a:buNone/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для выявления профессиональных предрасположенностей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0" y="1478757"/>
            <a:ext cx="4187429" cy="5560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Масштабная информационная кампания на всей территории Архангельской области, направленная на создание положительного образа предпринимателя</a:t>
            </a:r>
            <a:endParaRPr lang="ru-RU" sz="1050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0" y="2786062"/>
            <a:ext cx="4187429" cy="130135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Font typeface="Arial" charset="0"/>
              <a:buNone/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Вовлечение в предпринимательскую деятельность молодежи :</a:t>
            </a:r>
          </a:p>
          <a:p>
            <a:pPr marL="214313" indent="-214313" eaLnBrk="0" hangingPunct="0">
              <a:buFont typeface="Arial" pitchFamily="34" charset="0"/>
              <a:buChar char="•"/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Тематическая смена «Технологии предпринимательства» </a:t>
            </a:r>
          </a:p>
          <a:p>
            <a:pPr eaLnBrk="0" hangingPunct="0"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        в рамках проекта «Регион развития 29»;</a:t>
            </a:r>
          </a:p>
          <a:p>
            <a:pPr marL="214313" indent="-214313" eaLnBrk="0" hangingPunct="0">
              <a:buFont typeface="Arial" pitchFamily="34" charset="0"/>
              <a:buChar char="•"/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Открытые уроки с действующими предпринимателями;</a:t>
            </a:r>
          </a:p>
          <a:p>
            <a:pPr marL="214313" indent="-214313" eaLnBrk="0" hangingPunct="0">
              <a:buFont typeface="Arial" pitchFamily="34" charset="0"/>
              <a:buChar char="•"/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Деловая игра для школьников «Бизнес-</a:t>
            </a:r>
            <a:r>
              <a:rPr lang="en-US" altLang="ru-RU" sz="1050" b="1" dirty="0">
                <a:solidFill>
                  <a:srgbClr val="5B9BD5">
                    <a:lumMod val="50000"/>
                  </a:srgbClr>
                </a:solidFill>
              </a:rPr>
              <a:t>Challenge</a:t>
            </a: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»;</a:t>
            </a:r>
          </a:p>
          <a:p>
            <a:pPr marL="214313" indent="-214313" eaLnBrk="0" hangingPunct="0">
              <a:buFont typeface="Arial" pitchFamily="34" charset="0"/>
              <a:buChar char="•"/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Образовательный курс «Трансформация бизнес-идеи.                        Как превратить идею в бизнес»;</a:t>
            </a:r>
          </a:p>
          <a:p>
            <a:pPr marL="214313" indent="-214313" eaLnBrk="0" hangingPunct="0">
              <a:buFont typeface="Arial" pitchFamily="34" charset="0"/>
              <a:buChar char="•"/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Конкурс бизнес-проектов среди школьников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0" y="2606278"/>
            <a:ext cx="4187429" cy="1845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Конкурс бизнес –проектов</a:t>
            </a:r>
            <a:endParaRPr lang="ru-RU" sz="1050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0" y="2427685"/>
            <a:ext cx="4187429" cy="1845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altLang="ru-RU" sz="1050" b="1" dirty="0">
                <a:solidFill>
                  <a:srgbClr val="5B9BD5">
                    <a:lumMod val="50000"/>
                  </a:srgbClr>
                </a:solidFill>
              </a:rPr>
              <a:t>Образовательная программа «Школа успешного бизнеса»</a:t>
            </a:r>
            <a:endParaRPr lang="ru-RU" sz="1050" dirty="0">
              <a:solidFill>
                <a:srgbClr val="5B9BD5">
                  <a:lumMod val="50000"/>
                </a:srgbClr>
              </a:solidFill>
            </a:endParaRPr>
          </a:p>
        </p:txBody>
      </p:sp>
      <p:pic>
        <p:nvPicPr>
          <p:cNvPr id="19477" name="Рисунок 10" descr="D:\1 ЗЕРНОВА\2 ПРЕДПРИНИМАТЕЛЬСТВО\1 2020\ПРЕЗЕНТАЦИЯ ЗА 2019\QHxD89-BDS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82" t="30017" r="58614" b="13612"/>
          <a:stretch>
            <a:fillRect/>
          </a:stretch>
        </p:blipFill>
        <p:spPr bwMode="auto">
          <a:xfrm>
            <a:off x="7705725" y="2865835"/>
            <a:ext cx="1438275" cy="197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78" name="Прямоугольник 4"/>
          <p:cNvSpPr>
            <a:spLocks noChangeArrowheads="1"/>
          </p:cNvSpPr>
          <p:nvPr/>
        </p:nvSpPr>
        <p:spPr bwMode="auto">
          <a:xfrm>
            <a:off x="4181475" y="5430441"/>
            <a:ext cx="4381500" cy="473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825" b="1" i="1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25" b="1" i="1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825" b="1" i="1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Управление по делам молодежи и патриотическому воспитанию администрации Губернатора Архангельской области и Правительства Архангельской области</a:t>
            </a:r>
            <a:endParaRPr lang="ru-RU" altLang="ru-RU" sz="825" b="1" i="1" dirty="0">
              <a:solidFill>
                <a:prstClr val="black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0204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3591" y="1170886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577454" y="666327"/>
            <a:ext cx="8427244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 «Популяризация предпринимательства в Архангельской области»</a:t>
            </a:r>
          </a:p>
        </p:txBody>
      </p:sp>
      <p:sp>
        <p:nvSpPr>
          <p:cNvPr id="20485" name="TextBox 60"/>
          <p:cNvSpPr txBox="1">
            <a:spLocks noChangeArrowheads="1"/>
          </p:cNvSpPr>
          <p:nvPr/>
        </p:nvSpPr>
        <p:spPr bwMode="auto">
          <a:xfrm>
            <a:off x="170260" y="5725716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20486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3128" y="1620442"/>
            <a:ext cx="2946797" cy="19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7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04285" y="3680222"/>
            <a:ext cx="2721769" cy="1813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8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49041" y="3680222"/>
            <a:ext cx="2721769" cy="1813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9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51748" y="1620441"/>
            <a:ext cx="2953940" cy="1969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84047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33713" y="3038475"/>
            <a:ext cx="2478881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467544" y="1843088"/>
            <a:ext cx="2411387" cy="465536"/>
          </a:xfrm>
        </p:spPr>
        <p:txBody>
          <a:bodyPr/>
          <a:lstStyle/>
          <a:p>
            <a:pPr algn="ctr">
              <a:defRPr/>
            </a:pPr>
            <a:r>
              <a:rPr lang="ru-RU" sz="1400" i="1" dirty="0">
                <a:solidFill>
                  <a:schemeClr val="accent2">
                    <a:lumMod val="75000"/>
                  </a:schemeClr>
                </a:solidFill>
              </a:rPr>
              <a:t>Количество заключенных экспортных контрактов</a:t>
            </a:r>
          </a:p>
        </p:txBody>
      </p:sp>
      <p:graphicFrame>
        <p:nvGraphicFramePr>
          <p:cNvPr id="21508" name="Объект 32"/>
          <p:cNvGraphicFramePr>
            <a:graphicFrameLocks noGrp="1"/>
          </p:cNvGraphicFramePr>
          <p:nvPr>
            <p:ph sz="half" idx="2"/>
          </p:nvPr>
        </p:nvGraphicFramePr>
        <p:xfrm>
          <a:off x="431006" y="2415779"/>
          <a:ext cx="2343150" cy="2759869"/>
        </p:xfrm>
        <a:graphic>
          <a:graphicData uri="http://schemas.openxmlformats.org/presentationml/2006/ole">
            <p:oleObj spid="_x0000_s3220" name="Диаграмма" r:id="rId4" imgW="3127519" imgH="3688400" progId="">
              <p:embed/>
            </p:oleObj>
          </a:graphicData>
        </a:graphic>
      </p:graphicFrame>
      <p:sp>
        <p:nvSpPr>
          <p:cNvPr id="7" name="Текст 6"/>
          <p:cNvSpPr>
            <a:spLocks noGrp="1"/>
          </p:cNvSpPr>
          <p:nvPr>
            <p:ph type="body" sz="quarter" idx="3"/>
          </p:nvPr>
        </p:nvSpPr>
        <p:spPr>
          <a:xfrm>
            <a:off x="5332810" y="1843087"/>
            <a:ext cx="3620690" cy="414338"/>
          </a:xfrm>
        </p:spPr>
        <p:txBody>
          <a:bodyPr/>
          <a:lstStyle/>
          <a:p>
            <a:pPr algn="ctr">
              <a:defRPr/>
            </a:pPr>
            <a:r>
              <a:rPr lang="ru-RU" sz="1400" i="1" dirty="0">
                <a:solidFill>
                  <a:schemeClr val="accent2">
                    <a:lumMod val="75000"/>
                  </a:schemeClr>
                </a:solidFill>
              </a:rPr>
              <a:t>Объем поддержанного экспорта, </a:t>
            </a:r>
            <a:r>
              <a:rPr lang="ru-RU" sz="1400" i="1" dirty="0" smtClean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ru-RU" sz="1400" i="1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400" i="1" dirty="0" smtClean="0">
                <a:solidFill>
                  <a:schemeClr val="accent2">
                    <a:lumMod val="75000"/>
                  </a:schemeClr>
                </a:solidFill>
              </a:rPr>
              <a:t>млн</a:t>
            </a:r>
            <a:r>
              <a:rPr lang="ru-RU" sz="1400" i="1" dirty="0">
                <a:solidFill>
                  <a:schemeClr val="accent2">
                    <a:lumMod val="75000"/>
                  </a:schemeClr>
                </a:solidFill>
              </a:rPr>
              <a:t>. долл. США</a:t>
            </a:r>
          </a:p>
        </p:txBody>
      </p:sp>
      <p:pic>
        <p:nvPicPr>
          <p:cNvPr id="21511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0260" y="1295399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645914" y="714813"/>
            <a:ext cx="7883129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Центр поддержки экспорта</a:t>
            </a:r>
          </a:p>
        </p:txBody>
      </p:sp>
      <p:sp>
        <p:nvSpPr>
          <p:cNvPr id="21513" name="TextBox 38"/>
          <p:cNvSpPr txBox="1">
            <a:spLocks noChangeArrowheads="1"/>
          </p:cNvSpPr>
          <p:nvPr/>
        </p:nvSpPr>
        <p:spPr bwMode="auto">
          <a:xfrm>
            <a:off x="170260" y="5642372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graphicFrame>
        <p:nvGraphicFramePr>
          <p:cNvPr id="21514" name="Объект 32"/>
          <p:cNvGraphicFramePr>
            <a:graphicFrameLocks noGrp="1"/>
          </p:cNvGraphicFramePr>
          <p:nvPr>
            <p:ph sz="quarter" idx="4"/>
          </p:nvPr>
        </p:nvGraphicFramePr>
        <p:xfrm>
          <a:off x="5773341" y="2376488"/>
          <a:ext cx="2909888" cy="2799160"/>
        </p:xfrm>
        <a:graphic>
          <a:graphicData uri="http://schemas.openxmlformats.org/presentationml/2006/ole">
            <p:oleObj spid="_x0000_s3221" name="Диаграмма" r:id="rId6" imgW="3889585" imgH="3737172" progId="">
              <p:embed/>
            </p:oleObj>
          </a:graphicData>
        </a:graphic>
      </p:graphicFrame>
      <p:pic>
        <p:nvPicPr>
          <p:cNvPr id="21515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55607" y="5414963"/>
            <a:ext cx="945356" cy="421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51719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Текст 4"/>
          <p:cNvSpPr>
            <a:spLocks noGrp="1"/>
          </p:cNvSpPr>
          <p:nvPr>
            <p:ph type="body" idx="1"/>
          </p:nvPr>
        </p:nvSpPr>
        <p:spPr>
          <a:xfrm>
            <a:off x="827485" y="1585912"/>
            <a:ext cx="2409825" cy="358379"/>
          </a:xfrm>
        </p:spPr>
        <p:txBody>
          <a:bodyPr/>
          <a:lstStyle/>
          <a:p>
            <a:pPr algn="ctr"/>
            <a:r>
              <a:rPr lang="ru-RU" altLang="ru-RU" sz="1600" dirty="0">
                <a:solidFill>
                  <a:srgbClr val="C00000"/>
                </a:solidFill>
              </a:rPr>
              <a:t>«Дом Русского Севера»</a:t>
            </a:r>
          </a:p>
          <a:p>
            <a:pPr algn="ctr"/>
            <a:r>
              <a:rPr lang="ru-RU" altLang="ru-RU" sz="1600" dirty="0">
                <a:solidFill>
                  <a:srgbClr val="C00000"/>
                </a:solidFill>
              </a:rPr>
              <a:t>г. Ереван</a:t>
            </a:r>
            <a:endParaRPr lang="ru-RU" altLang="ru-RU" sz="1600" i="1" dirty="0">
              <a:solidFill>
                <a:srgbClr val="C00000"/>
              </a:solidFill>
            </a:endParaRPr>
          </a:p>
        </p:txBody>
      </p:sp>
      <p:pic>
        <p:nvPicPr>
          <p:cNvPr id="22532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0260" y="1005165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645915" y="450385"/>
            <a:ext cx="7883128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Центр поддержки экспорта</a:t>
            </a:r>
          </a:p>
        </p:txBody>
      </p:sp>
      <p:sp>
        <p:nvSpPr>
          <p:cNvPr id="22534" name="TextBox 38"/>
          <p:cNvSpPr txBox="1">
            <a:spLocks noChangeArrowheads="1"/>
          </p:cNvSpPr>
          <p:nvPr/>
        </p:nvSpPr>
        <p:spPr bwMode="auto">
          <a:xfrm>
            <a:off x="2268141" y="5712619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sp>
        <p:nvSpPr>
          <p:cNvPr id="22535" name="Текст 4"/>
          <p:cNvSpPr txBox="1">
            <a:spLocks/>
          </p:cNvSpPr>
          <p:nvPr/>
        </p:nvSpPr>
        <p:spPr bwMode="auto">
          <a:xfrm>
            <a:off x="5368529" y="1585912"/>
            <a:ext cx="2409825" cy="35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buFont typeface="Arial" panose="020B0604020202020204" pitchFamily="34" charset="0"/>
              <a:buNone/>
            </a:pPr>
            <a:r>
              <a:rPr lang="ru-RU" altLang="ru-RU" sz="1600" b="1" dirty="0">
                <a:solidFill>
                  <a:srgbClr val="C00000"/>
                </a:solidFill>
              </a:rPr>
              <a:t>«Дом Армении»</a:t>
            </a:r>
          </a:p>
          <a:p>
            <a:pPr algn="ctr" eaLnBrk="0" hangingPunct="0">
              <a:buFont typeface="Arial" panose="020B0604020202020204" pitchFamily="34" charset="0"/>
              <a:buNone/>
            </a:pPr>
            <a:r>
              <a:rPr lang="ru-RU" altLang="ru-RU" sz="1600" b="1" dirty="0">
                <a:solidFill>
                  <a:srgbClr val="C00000"/>
                </a:solidFill>
              </a:rPr>
              <a:t>г. Архангельск</a:t>
            </a:r>
            <a:endParaRPr lang="ru-RU" altLang="ru-RU" sz="1600" b="1" i="1" dirty="0">
              <a:solidFill>
                <a:srgbClr val="C00000"/>
              </a:solidFill>
            </a:endParaRPr>
          </a:p>
        </p:txBody>
      </p:sp>
      <p:pic>
        <p:nvPicPr>
          <p:cNvPr id="22536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0260" y="1916907"/>
            <a:ext cx="4000500" cy="2997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7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43450" y="2056210"/>
            <a:ext cx="3980260" cy="2653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8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75823" y="4768453"/>
            <a:ext cx="1710928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9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1235" y="4805363"/>
            <a:ext cx="1737122" cy="1073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40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257" y="5151835"/>
            <a:ext cx="945356" cy="421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662077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-1191" y="4144566"/>
            <a:ext cx="9145191" cy="1856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23555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1007" y="1514475"/>
            <a:ext cx="4902994" cy="448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9057" y="1941910"/>
            <a:ext cx="4694635" cy="364715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57175" indent="-257175" eaLnBrk="0" hangingPunct="0">
              <a:buFontTx/>
              <a:buAutoNum type="arabicParenR"/>
              <a:defRPr/>
            </a:pPr>
            <a:r>
              <a:rPr lang="ru-RU" sz="105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Иванова Юлия Александровна </a:t>
            </a:r>
          </a:p>
          <a:p>
            <a:pPr eaLnBrk="0" hangingPunct="0">
              <a:defRPr/>
            </a:pPr>
            <a:r>
              <a:rPr lang="ru-RU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(</a:t>
            </a:r>
            <a:r>
              <a:rPr lang="ru-RU" sz="1050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Няндомский</a:t>
            </a:r>
            <a:r>
              <a:rPr lang="ru-RU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, </a:t>
            </a:r>
            <a:r>
              <a:rPr lang="ru-RU" sz="1050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Каргопольский</a:t>
            </a:r>
            <a:r>
              <a:rPr lang="ru-RU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, </a:t>
            </a:r>
            <a:r>
              <a:rPr lang="ru-RU" sz="1050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Коношский</a:t>
            </a:r>
            <a:r>
              <a:rPr lang="ru-RU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 районы)</a:t>
            </a:r>
          </a:p>
          <a:p>
            <a:pPr eaLnBrk="0" hangingPunct="0">
              <a:defRPr/>
            </a:pPr>
            <a:r>
              <a:rPr lang="ru-RU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ru-RU" sz="1050" i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Дистанционно</a:t>
            </a:r>
            <a:r>
              <a:rPr lang="ru-RU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: </a:t>
            </a:r>
            <a:r>
              <a:rPr lang="ru-RU" sz="1050" dirty="0" err="1" smtClean="0">
                <a:solidFill>
                  <a:prstClr val="black"/>
                </a:solidFill>
                <a:latin typeface="Calibri" panose="020F0502020204030204" pitchFamily="34" charset="0"/>
              </a:rPr>
              <a:t>Плесецкий</a:t>
            </a:r>
            <a:r>
              <a:rPr lang="ru-RU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 район</a:t>
            </a:r>
          </a:p>
          <a:p>
            <a:pPr eaLnBrk="0" hangingPunct="0">
              <a:defRPr/>
            </a:pPr>
            <a:endParaRPr lang="en-US" sz="105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2) </a:t>
            </a:r>
            <a:r>
              <a:rPr lang="ru-RU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Петрова Галина Викторовна  </a:t>
            </a: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(Вельский, 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Устьянский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,  Шенкурский районы)</a:t>
            </a: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ru-RU" sz="1050" i="1" dirty="0">
                <a:solidFill>
                  <a:prstClr val="black"/>
                </a:solidFill>
                <a:latin typeface="Calibri" panose="020F0502020204030204" pitchFamily="34" charset="0"/>
              </a:rPr>
              <a:t>Дистанционно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: Мезенский</a:t>
            </a:r>
          </a:p>
          <a:p>
            <a:pPr eaLnBrk="0" hangingPunct="0">
              <a:defRPr/>
            </a:pPr>
            <a:endParaRPr lang="en-US" sz="105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3)  </a:t>
            </a:r>
            <a:r>
              <a:rPr lang="ru-RU" sz="1050" b="1" dirty="0" err="1">
                <a:solidFill>
                  <a:prstClr val="black"/>
                </a:solidFill>
                <a:latin typeface="Calibri" panose="020F0502020204030204" pitchFamily="34" charset="0"/>
              </a:rPr>
              <a:t>Селезенева</a:t>
            </a:r>
            <a:r>
              <a:rPr lang="ru-RU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 Лариса Валерьевн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а -</a:t>
            </a:r>
          </a:p>
          <a:p>
            <a:pPr eaLnBrk="0" hangingPunct="0">
              <a:defRPr/>
            </a:pP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Котласский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, 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Красноборский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, и 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Вилегодский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 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рны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, 1/2  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г.Коряжма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,  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г.Котлас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/>
            </a:r>
            <a:b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</a:b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ru-RU" sz="1050" i="1" dirty="0">
                <a:solidFill>
                  <a:prstClr val="black"/>
                </a:solidFill>
                <a:latin typeface="Calibri" panose="020F0502020204030204" pitchFamily="34" charset="0"/>
              </a:rPr>
              <a:t>Дистанционно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: 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Лешуконский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/>
            </a:r>
            <a:b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</a:br>
            <a:endParaRPr lang="en-US" sz="105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4) </a:t>
            </a:r>
            <a:r>
              <a:rPr lang="ru-RU" sz="1050" b="1" dirty="0" err="1">
                <a:solidFill>
                  <a:prstClr val="black"/>
                </a:solidFill>
                <a:latin typeface="Calibri" panose="020F0502020204030204" pitchFamily="34" charset="0"/>
              </a:rPr>
              <a:t>Тропникова</a:t>
            </a:r>
            <a:r>
              <a:rPr lang="ru-RU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 Анна Александровна </a:t>
            </a: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( 1/2 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г.Коряжма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, Ленский и 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Верхнетоемский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)</a:t>
            </a:r>
            <a:b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</a:b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ru-RU" sz="1050" i="1" dirty="0">
                <a:solidFill>
                  <a:prstClr val="black"/>
                </a:solidFill>
                <a:latin typeface="Calibri" panose="020F0502020204030204" pitchFamily="34" charset="0"/>
              </a:rPr>
              <a:t>Дистанционно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: 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Пинежский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 районы </a:t>
            </a:r>
          </a:p>
          <a:p>
            <a:pPr eaLnBrk="0" hangingPunct="0">
              <a:defRPr/>
            </a:pPr>
            <a:endParaRPr lang="en-US" sz="105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5) </a:t>
            </a:r>
            <a:r>
              <a:rPr lang="ru-RU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Рустам Николаевич </a:t>
            </a:r>
            <a:r>
              <a:rPr lang="ru-RU" sz="1050" b="1" dirty="0" err="1">
                <a:solidFill>
                  <a:prstClr val="black"/>
                </a:solidFill>
                <a:latin typeface="Calibri" panose="020F0502020204030204" pitchFamily="34" charset="0"/>
              </a:rPr>
              <a:t>Никончук</a:t>
            </a:r>
            <a:r>
              <a:rPr lang="ru-RU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 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– </a:t>
            </a: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Северодвинск, </a:t>
            </a:r>
            <a:r>
              <a:rPr lang="ru-RU" sz="1050" dirty="0" err="1">
                <a:solidFill>
                  <a:prstClr val="black"/>
                </a:solidFill>
                <a:latin typeface="Calibri" panose="020F0502020204030204" pitchFamily="34" charset="0"/>
              </a:rPr>
              <a:t>Новодвинск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 </a:t>
            </a: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ru-RU" sz="1050" i="1" dirty="0">
                <a:solidFill>
                  <a:prstClr val="black"/>
                </a:solidFill>
                <a:latin typeface="Calibri" panose="020F0502020204030204" pitchFamily="34" charset="0"/>
              </a:rPr>
              <a:t>Дистанционно</a:t>
            </a: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: моногорода; ТОСЭР</a:t>
            </a:r>
            <a:endParaRPr lang="en-US" sz="105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eaLnBrk="0" hangingPunct="0">
              <a:defRPr/>
            </a:pPr>
            <a:endParaRPr lang="ru-RU" sz="105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6) </a:t>
            </a:r>
            <a:r>
              <a:rPr lang="ru-RU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Вепрев Андрей Николаевич</a:t>
            </a:r>
            <a:endParaRPr lang="en-US" sz="1050" b="1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eaLnBrk="0" hangingPunct="0">
              <a:defRPr/>
            </a:pPr>
            <a:r>
              <a:rPr lang="ru-RU" sz="1050" dirty="0">
                <a:solidFill>
                  <a:prstClr val="black"/>
                </a:solidFill>
                <a:latin typeface="Calibri" panose="020F0502020204030204" pitchFamily="34" charset="0"/>
              </a:rPr>
              <a:t>– Онежский район. </a:t>
            </a:r>
          </a:p>
        </p:txBody>
      </p:sp>
      <p:sp>
        <p:nvSpPr>
          <p:cNvPr id="23557" name="Прямоугольник 5"/>
          <p:cNvSpPr>
            <a:spLocks noChangeArrowheads="1"/>
          </p:cNvSpPr>
          <p:nvPr/>
        </p:nvSpPr>
        <p:spPr bwMode="auto">
          <a:xfrm>
            <a:off x="5568554" y="920354"/>
            <a:ext cx="347305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prstClr val="white"/>
                </a:solidFill>
              </a:rPr>
              <a:t>География  представителей в области</a:t>
            </a:r>
          </a:p>
        </p:txBody>
      </p:sp>
      <p:pic>
        <p:nvPicPr>
          <p:cNvPr id="23558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3332" t="40401" r="53130" b="48622"/>
          <a:stretch>
            <a:fillRect/>
          </a:stretch>
        </p:blipFill>
        <p:spPr bwMode="auto">
          <a:xfrm>
            <a:off x="6013847" y="2244329"/>
            <a:ext cx="179784" cy="510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9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3332" t="40401" r="53130" b="48622"/>
          <a:stretch>
            <a:fillRect/>
          </a:stretch>
        </p:blipFill>
        <p:spPr bwMode="auto">
          <a:xfrm>
            <a:off x="6140054" y="2153841"/>
            <a:ext cx="179784" cy="510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0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3224" t="42206" r="53130" b="51823"/>
          <a:stretch>
            <a:fillRect/>
          </a:stretch>
        </p:blipFill>
        <p:spPr bwMode="auto">
          <a:xfrm>
            <a:off x="6193631" y="1966913"/>
            <a:ext cx="185738" cy="277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1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3224" t="42206" r="53130" b="51823"/>
          <a:stretch>
            <a:fillRect/>
          </a:stretch>
        </p:blipFill>
        <p:spPr bwMode="auto">
          <a:xfrm>
            <a:off x="4893469" y="2777729"/>
            <a:ext cx="185738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2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2127" t="39919" r="64088" b="54996"/>
          <a:stretch>
            <a:fillRect/>
          </a:stretch>
        </p:blipFill>
        <p:spPr bwMode="auto">
          <a:xfrm>
            <a:off x="6319837" y="3405188"/>
            <a:ext cx="18573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3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2127" t="39919" r="64088" b="54996"/>
          <a:stretch>
            <a:fillRect/>
          </a:stretch>
        </p:blipFill>
        <p:spPr bwMode="auto">
          <a:xfrm>
            <a:off x="6379369" y="2942035"/>
            <a:ext cx="184547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>
            <a:extLst/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658"/>
          <a:stretch/>
        </p:blipFill>
        <p:spPr>
          <a:xfrm>
            <a:off x="7509679" y="4731575"/>
            <a:ext cx="514547" cy="31172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4" name="CustomShape 2">
            <a:extLst/>
          </p:cNvPr>
          <p:cNvSpPr/>
          <p:nvPr/>
        </p:nvSpPr>
        <p:spPr>
          <a:xfrm>
            <a:off x="8420101" y="5657850"/>
            <a:ext cx="270272" cy="21788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32753" tIns="16376" rIns="32753" bIns="16376"/>
          <a:lstStyle/>
          <a:p>
            <a:pPr algn="ctr" eaLnBrk="0" hangingPunct="0">
              <a:defRPr/>
            </a:pPr>
            <a:r>
              <a:rPr lang="ru-RU" sz="1125" b="1" dirty="0">
                <a:solidFill>
                  <a:srgbClr val="5B9BD5">
                    <a:lumMod val="50000"/>
                  </a:srgbClr>
                </a:solidFill>
              </a:rPr>
              <a:t>2</a:t>
            </a:r>
            <a:endParaRPr dirty="0">
              <a:solidFill>
                <a:srgbClr val="5B9BD5">
                  <a:lumMod val="50000"/>
                </a:srgbClr>
              </a:solidFill>
            </a:endParaRPr>
          </a:p>
        </p:txBody>
      </p:sp>
      <p:pic>
        <p:nvPicPr>
          <p:cNvPr id="15" name="Рисунок 14">
            <a:extLst/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678" t="10177" r="22097" b="48298"/>
          <a:stretch/>
        </p:blipFill>
        <p:spPr>
          <a:xfrm>
            <a:off x="8101534" y="5114835"/>
            <a:ext cx="637937" cy="76085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Рисунок 15">
            <a:extLst/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22770" y="1703596"/>
            <a:ext cx="614334" cy="8174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7" name="Рисунок 16">
            <a:extLst/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89714" y="2519290"/>
            <a:ext cx="599996" cy="80152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9" name="Рисунок 18">
            <a:extLst/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94636" y="3534362"/>
            <a:ext cx="560773" cy="77159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0" name="Рисунок 19">
            <a:extLst/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2892" b="15926"/>
          <a:stretch/>
        </p:blipFill>
        <p:spPr>
          <a:xfrm flipH="1">
            <a:off x="6601562" y="4065031"/>
            <a:ext cx="626361" cy="8210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1" name="Скругленный прямоугольник 20">
            <a:extLst/>
          </p:cNvPr>
          <p:cNvSpPr/>
          <p:nvPr/>
        </p:nvSpPr>
        <p:spPr>
          <a:xfrm>
            <a:off x="2449117" y="5094685"/>
            <a:ext cx="1724450" cy="6810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0" hangingPunct="0">
              <a:defRPr/>
            </a:pPr>
            <a:r>
              <a:rPr lang="ru-RU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В сумме охват</a:t>
            </a:r>
          </a:p>
          <a:p>
            <a:pPr eaLnBrk="0" hangingPunct="0">
              <a:defRPr/>
            </a:pPr>
            <a:r>
              <a:rPr lang="ru-RU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ru-RU" sz="2100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18 000 </a:t>
            </a:r>
            <a:r>
              <a:rPr lang="ru-RU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МСП</a:t>
            </a:r>
            <a:endParaRPr lang="ru-RU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23573" name="Рисунок 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69" y="1112954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807245" y="498515"/>
            <a:ext cx="7883128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еография представителей агентства в Архангельской области</a:t>
            </a:r>
          </a:p>
        </p:txBody>
      </p:sp>
      <p:sp>
        <p:nvSpPr>
          <p:cNvPr id="23576" name="TextBox 38"/>
          <p:cNvSpPr txBox="1">
            <a:spLocks noChangeArrowheads="1"/>
          </p:cNvSpPr>
          <p:nvPr/>
        </p:nvSpPr>
        <p:spPr bwMode="auto">
          <a:xfrm>
            <a:off x="69056" y="5775722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23577" name="Рисунок 2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73541" y="5717381"/>
            <a:ext cx="569119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86427" y="4325625"/>
            <a:ext cx="610332" cy="80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7434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59761" y="1932168"/>
            <a:ext cx="1582197" cy="1161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9" name="Picture 9" descr="ÐÐ°ÑÑÐ¸Ð½ÐºÐ¸ Ð¿Ð¾ Ð·Ð°Ð¿ÑÐ¾ÑÑ Ð¼Ð¾Ð¹ Ð±Ð¸Ð·Ð½ÐµÑ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263938" y="11668125"/>
            <a:ext cx="1778794" cy="138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ustomShape 1"/>
          <p:cNvSpPr/>
          <p:nvPr/>
        </p:nvSpPr>
        <p:spPr>
          <a:xfrm>
            <a:off x="2594373" y="7394972"/>
            <a:ext cx="14407753" cy="350639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" name="CustomShape 2"/>
          <p:cNvSpPr/>
          <p:nvPr/>
        </p:nvSpPr>
        <p:spPr>
          <a:xfrm>
            <a:off x="16719947" y="12538472"/>
            <a:ext cx="472678" cy="23931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algn="ctr" eaLnBrk="0" hangingPunct="0">
              <a:defRPr/>
            </a:pPr>
            <a:r>
              <a:rPr lang="ru-RU" sz="2250" b="1" dirty="0">
                <a:solidFill>
                  <a:srgbClr val="FFFFFF"/>
                </a:solidFill>
              </a:rPr>
              <a:t>2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CustomShape 5"/>
          <p:cNvSpPr/>
          <p:nvPr/>
        </p:nvSpPr>
        <p:spPr>
          <a:xfrm>
            <a:off x="3338513" y="2077641"/>
            <a:ext cx="13287375" cy="19407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algn="just" eaLnBrk="0" hangingPunct="0">
              <a:defRPr/>
            </a:pPr>
            <a:endParaRPr lang="ru-RU" sz="1950" b="1" dirty="0">
              <a:solidFill>
                <a:srgbClr val="808080"/>
              </a:solidFill>
              <a:latin typeface="Roboto Slab"/>
              <a:ea typeface="Times New Roman"/>
            </a:endParaRPr>
          </a:p>
        </p:txBody>
      </p:sp>
      <p:sp>
        <p:nvSpPr>
          <p:cNvPr id="6" name="CustomShape 1">
            <a:extLst/>
          </p:cNvPr>
          <p:cNvSpPr/>
          <p:nvPr/>
        </p:nvSpPr>
        <p:spPr>
          <a:xfrm>
            <a:off x="3200400" y="3180160"/>
            <a:ext cx="12305110" cy="2202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eaLnBrk="0" hangingPunct="0">
              <a:defRPr/>
            </a:pPr>
            <a:endParaRPr lang="ru-RU" sz="2700" b="1" u="sng" dirty="0">
              <a:solidFill>
                <a:prstClr val="black">
                  <a:lumMod val="65000"/>
                  <a:lumOff val="35000"/>
                </a:prstClr>
              </a:solidFill>
              <a:latin typeface="Roboto Slab"/>
            </a:endParaRPr>
          </a:p>
        </p:txBody>
      </p:sp>
      <p:sp>
        <p:nvSpPr>
          <p:cNvPr id="8" name="CustomShape 1">
            <a:extLst/>
          </p:cNvPr>
          <p:cNvSpPr/>
          <p:nvPr/>
        </p:nvSpPr>
        <p:spPr>
          <a:xfrm>
            <a:off x="2895600" y="4427935"/>
            <a:ext cx="14155341" cy="9727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marL="514350" indent="-514350" eaLnBrk="0" hangingPunct="0">
              <a:buFont typeface="Arial" panose="020B0604020202020204" pitchFamily="34" charset="0"/>
              <a:buChar char="•"/>
              <a:defRPr/>
            </a:pPr>
            <a:endParaRPr lang="ru-RU" sz="2400" b="1" dirty="0">
              <a:solidFill>
                <a:prstClr val="black">
                  <a:lumMod val="65000"/>
                  <a:lumOff val="35000"/>
                </a:prstClr>
              </a:solidFill>
              <a:latin typeface="Roboto Slab"/>
            </a:endParaRPr>
          </a:p>
        </p:txBody>
      </p:sp>
      <p:sp>
        <p:nvSpPr>
          <p:cNvPr id="9" name="CustomShape 1">
            <a:extLst/>
          </p:cNvPr>
          <p:cNvSpPr/>
          <p:nvPr/>
        </p:nvSpPr>
        <p:spPr>
          <a:xfrm>
            <a:off x="2267744" y="1358694"/>
            <a:ext cx="5993606" cy="44172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eaLnBrk="0" hangingPunct="0">
              <a:defRPr/>
            </a:pPr>
            <a:r>
              <a:rPr lang="ru-RU" sz="2400" b="1" dirty="0">
                <a:solidFill>
                  <a:srgbClr val="30476C"/>
                </a:solidFill>
              </a:rPr>
              <a:t>Кластеры Архангельской области</a:t>
            </a:r>
            <a:endParaRPr sz="2400" dirty="0">
              <a:solidFill>
                <a:srgbClr val="30476C"/>
              </a:solidFill>
            </a:endParaRPr>
          </a:p>
        </p:txBody>
      </p:sp>
      <p:sp>
        <p:nvSpPr>
          <p:cNvPr id="24588" name="Прямоугольник 13"/>
          <p:cNvSpPr>
            <a:spLocks noChangeArrowheads="1"/>
          </p:cNvSpPr>
          <p:nvPr/>
        </p:nvSpPr>
        <p:spPr bwMode="auto">
          <a:xfrm>
            <a:off x="6501318" y="2971571"/>
            <a:ext cx="239373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srgbClr val="FF0000"/>
                </a:solidFill>
              </a:rPr>
              <a:t>АРКТИЧЕСКИЙ РЫБОПРОМЫШЛЕННЫЙ </a:t>
            </a:r>
          </a:p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srgbClr val="FF0000"/>
                </a:solidFill>
              </a:rPr>
              <a:t>КЛАСТЕР</a:t>
            </a:r>
            <a:endParaRPr lang="ru-RU" altLang="ru-RU" sz="1400" b="1" dirty="0">
              <a:solidFill>
                <a:srgbClr val="FF0000"/>
              </a:solidFill>
            </a:endParaRPr>
          </a:p>
        </p:txBody>
      </p:sp>
      <p:pic>
        <p:nvPicPr>
          <p:cNvPr id="24589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47880" y="2070231"/>
            <a:ext cx="1553765" cy="841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336947" y="3180160"/>
            <a:ext cx="3214688" cy="5322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8516" y="493157"/>
            <a:ext cx="7883129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Центр кластерного развития</a:t>
            </a:r>
          </a:p>
        </p:txBody>
      </p:sp>
      <p:pic>
        <p:nvPicPr>
          <p:cNvPr id="24593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991214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3892" y="2119191"/>
            <a:ext cx="2576572" cy="1253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342325" y="3213735"/>
            <a:ext cx="300774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ЕСОПРОМЫШЛЕННЫЙ ИННОВАЦИОННЫЙ ТЕРРИТОРИАЛЬНЫЙ КЛАСТЕР АРХАНГЕЛЬСКОЙ ОБЛАСТИ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741966" y="4048060"/>
            <a:ext cx="1978430" cy="13466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 anchor="ctr" anchorCtr="0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Создан</a:t>
            </a:r>
            <a:r>
              <a:rPr kumimoji="0" lang="ru-RU" sz="1400" i="1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в </a:t>
            </a:r>
            <a:r>
              <a:rPr kumimoji="0" lang="ru-RU" sz="1400" b="1" i="1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2019 году</a:t>
            </a:r>
            <a:endParaRPr kumimoji="0" lang="en-US" sz="1400" b="1" i="1" u="none" strike="noStrike" kern="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1" u="none" strike="noStrike" kern="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b="1" kern="0" dirty="0" smtClean="0">
                <a:solidFill>
                  <a:prstClr val="black"/>
                </a:solidFill>
                <a:latin typeface="Calibri"/>
              </a:rPr>
              <a:t>6</a:t>
            </a:r>
            <a:r>
              <a:rPr lang="ru-RU" sz="1700" b="1" kern="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700" b="1" kern="0" dirty="0">
                <a:solidFill>
                  <a:prstClr val="black"/>
                </a:solidFill>
                <a:latin typeface="Calibri"/>
              </a:rPr>
              <a:t>УЧАСТНИКОВ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583686" y="4380588"/>
            <a:ext cx="2486286" cy="202826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 anchorCtr="0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/>
              </a:rPr>
              <a:t>43 УЧАСТНИК</a:t>
            </a:r>
            <a:r>
              <a:rPr lang="ru-RU" sz="1700" b="1" kern="0" noProof="0" dirty="0" smtClean="0">
                <a:solidFill>
                  <a:prstClr val="black"/>
                </a:solidFill>
                <a:latin typeface="Calibri"/>
              </a:rPr>
              <a:t>А</a:t>
            </a:r>
            <a:endParaRPr kumimoji="0" lang="ru-RU" sz="17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/>
              </a:rPr>
              <a:t>61 МЛРД РУБЛЕЙ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uLnTx/>
                <a:uFillTx/>
                <a:latin typeface="Calibri"/>
              </a:rPr>
              <a:t>(общая выручка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/>
              </a:rPr>
              <a:t>15 690 ЧЕЛОВЕК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uLnTx/>
                <a:uFillTx/>
                <a:latin typeface="Calibri"/>
              </a:rPr>
              <a:t>(численность работников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18516" y="3816846"/>
            <a:ext cx="2486286" cy="202826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 anchorCtr="0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/>
              </a:rPr>
              <a:t>64 УЧАСТНИК</a:t>
            </a:r>
            <a:r>
              <a:rPr lang="ru-RU" sz="1700" b="1" kern="0" noProof="0" dirty="0" smtClean="0">
                <a:solidFill>
                  <a:prstClr val="black"/>
                </a:solidFill>
                <a:latin typeface="Calibri"/>
              </a:rPr>
              <a:t>А</a:t>
            </a:r>
            <a:endParaRPr kumimoji="0" lang="ru-RU" sz="17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1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/>
              </a:rPr>
              <a:t>165 МЛРД РУБЛЕЙ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uLnTx/>
                <a:uFillTx/>
                <a:latin typeface="Calibri"/>
              </a:rPr>
              <a:t>(общая выручка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i="1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uLnTx/>
                <a:uFillTx/>
                <a:latin typeface="Calibri"/>
              </a:rPr>
              <a:t>49 300 ЧЕЛОВЕК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uLnTx/>
                <a:uFillTx/>
                <a:latin typeface="Calibri"/>
              </a:rPr>
              <a:t>(численность работников)</a:t>
            </a:r>
          </a:p>
        </p:txBody>
      </p:sp>
    </p:spTree>
    <p:extLst>
      <p:ext uri="{BB962C8B-B14F-4D97-AF65-F5344CB8AC3E}">
        <p14:creationId xmlns:p14="http://schemas.microsoft.com/office/powerpoint/2010/main" xmlns="" val="2868092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9" descr="ÐÐ°ÑÑÐ¸Ð½ÐºÐ¸ Ð¿Ð¾ Ð·Ð°Ð¿ÑÐ¾ÑÑ Ð¼Ð¾Ð¹ Ð±Ð¸Ð·Ð½ÐµÑ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263938" y="11668125"/>
            <a:ext cx="1778794" cy="138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ustomShape 1"/>
          <p:cNvSpPr/>
          <p:nvPr/>
        </p:nvSpPr>
        <p:spPr>
          <a:xfrm>
            <a:off x="2594373" y="7394972"/>
            <a:ext cx="14407753" cy="350639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" name="CustomShape 2"/>
          <p:cNvSpPr/>
          <p:nvPr/>
        </p:nvSpPr>
        <p:spPr>
          <a:xfrm>
            <a:off x="16719947" y="12538472"/>
            <a:ext cx="472678" cy="23931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algn="ctr" eaLnBrk="0" hangingPunct="0">
              <a:defRPr/>
            </a:pPr>
            <a:r>
              <a:rPr lang="ru-RU" sz="2250" b="1" dirty="0">
                <a:solidFill>
                  <a:srgbClr val="FFFFFF"/>
                </a:solidFill>
              </a:rPr>
              <a:t>2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CustomShape 5"/>
          <p:cNvSpPr/>
          <p:nvPr/>
        </p:nvSpPr>
        <p:spPr>
          <a:xfrm>
            <a:off x="3338513" y="2077641"/>
            <a:ext cx="13287375" cy="19407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algn="just" eaLnBrk="0" hangingPunct="0">
              <a:defRPr/>
            </a:pPr>
            <a:endParaRPr lang="ru-RU" sz="1950" b="1" dirty="0">
              <a:solidFill>
                <a:srgbClr val="808080"/>
              </a:solidFill>
              <a:latin typeface="Roboto Slab"/>
              <a:ea typeface="Times New Roman"/>
            </a:endParaRPr>
          </a:p>
        </p:txBody>
      </p:sp>
      <p:sp>
        <p:nvSpPr>
          <p:cNvPr id="6" name="CustomShape 1">
            <a:extLst/>
          </p:cNvPr>
          <p:cNvSpPr/>
          <p:nvPr/>
        </p:nvSpPr>
        <p:spPr>
          <a:xfrm>
            <a:off x="3200400" y="3180160"/>
            <a:ext cx="12305110" cy="22026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eaLnBrk="0" hangingPunct="0">
              <a:defRPr/>
            </a:pPr>
            <a:endParaRPr lang="ru-RU" sz="2700" b="1" u="sng" dirty="0">
              <a:solidFill>
                <a:prstClr val="black">
                  <a:lumMod val="65000"/>
                  <a:lumOff val="35000"/>
                </a:prstClr>
              </a:solidFill>
              <a:latin typeface="Roboto Slab"/>
            </a:endParaRPr>
          </a:p>
        </p:txBody>
      </p:sp>
      <p:sp>
        <p:nvSpPr>
          <p:cNvPr id="8" name="CustomShape 1">
            <a:extLst/>
          </p:cNvPr>
          <p:cNvSpPr/>
          <p:nvPr/>
        </p:nvSpPr>
        <p:spPr>
          <a:xfrm>
            <a:off x="2895600" y="4427935"/>
            <a:ext cx="14155341" cy="9727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marL="514350" indent="-514350" eaLnBrk="0" hangingPunct="0">
              <a:buFont typeface="Arial" panose="020B0604020202020204" pitchFamily="34" charset="0"/>
              <a:buChar char="•"/>
              <a:defRPr/>
            </a:pPr>
            <a:endParaRPr lang="ru-RU" sz="2400" b="1" dirty="0">
              <a:solidFill>
                <a:prstClr val="black">
                  <a:lumMod val="65000"/>
                  <a:lumOff val="35000"/>
                </a:prstClr>
              </a:solidFill>
              <a:latin typeface="Roboto Slab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36947" y="3180160"/>
            <a:ext cx="3214688" cy="5322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5915" y="647793"/>
            <a:ext cx="7883128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Инновационный центр</a:t>
            </a:r>
          </a:p>
        </p:txBody>
      </p:sp>
      <p:pic>
        <p:nvPicPr>
          <p:cNvPr id="25610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0260" y="1235581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1" name="Схема 20"/>
          <p:cNvGraphicFramePr/>
          <p:nvPr>
            <p:extLst/>
          </p:nvPr>
        </p:nvGraphicFramePr>
        <p:xfrm>
          <a:off x="5580112" y="2828119"/>
          <a:ext cx="3716910" cy="11446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/>
        </p:nvGraphicFramePr>
        <p:xfrm>
          <a:off x="2995613" y="4120753"/>
          <a:ext cx="5724527" cy="16454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306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73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173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4184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1735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7630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2019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2019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епень достижения</a:t>
                      </a:r>
                    </a:p>
                  </a:txBody>
                  <a:tcPr marL="68579" marR="68579" marT="34303" marB="34303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2020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63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trike="noStrike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r>
                        <a:rPr lang="ru-RU" sz="800" b="1" strike="noStrike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мпаний резидентов</a:t>
                      </a:r>
                      <a:endParaRPr lang="ru-RU" sz="800" b="1" strike="noStrik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6,4%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01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trike="noStrike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</a:t>
                      </a:r>
                      <a:r>
                        <a:rPr lang="ru-RU" sz="800" b="1" strike="noStrike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рендуемых компаниями-резидентами помещений</a:t>
                      </a:r>
                      <a:endParaRPr lang="ru-RU" sz="800" b="1" strike="noStrik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3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1 %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3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63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я, образовательные услуги</a:t>
                      </a:r>
                    </a:p>
                  </a:txBody>
                  <a:tcPr marL="68579" marR="68579" marT="34303" marB="34303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8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6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8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6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8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2 %</a:t>
                      </a:r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6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8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6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63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trike="noStrike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ультации</a:t>
                      </a:r>
                      <a:r>
                        <a:rPr lang="ru-RU" sz="800" b="1" strike="noStrike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услугам центра</a:t>
                      </a:r>
                      <a:endParaRPr lang="ru-RU" sz="800" b="1" strike="noStrik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68579" marR="68579" marT="34303" marB="343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4 %</a:t>
                      </a:r>
                      <a:endParaRPr lang="ru-RU" sz="8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9" marR="68579" marT="34303" marB="34303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68579" marR="68579" marT="34303" marB="34303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25650" name="Рисунок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82754" y="1669257"/>
            <a:ext cx="1949053" cy="1170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51" name="Picture 6" descr="https://sun9-12.userapi.com/c853628/v853628754/13370a/HBobWXd2EPk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47925" y="2424113"/>
            <a:ext cx="2219325" cy="1603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52" name="Picture 2" descr="C:\Users\User\Desktop\коворкинг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4794" y="1691879"/>
            <a:ext cx="1977629" cy="1326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53" name="Picture 4" descr="https://sun9-17.userapi.com/c851320/v851320924/177440/l-Qm0ye0csg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6947" y="4130279"/>
            <a:ext cx="2099072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54" name="TextBox 38"/>
          <p:cNvSpPr txBox="1">
            <a:spLocks noChangeArrowheads="1"/>
          </p:cNvSpPr>
          <p:nvPr/>
        </p:nvSpPr>
        <p:spPr bwMode="auto">
          <a:xfrm>
            <a:off x="140494" y="5743575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25656" name="Рисунок 2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72462" y="1800225"/>
            <a:ext cx="642938" cy="286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84419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Box 4"/>
          <p:cNvSpPr txBox="1">
            <a:spLocks noChangeArrowheads="1"/>
          </p:cNvSpPr>
          <p:nvPr/>
        </p:nvSpPr>
        <p:spPr bwMode="auto">
          <a:xfrm>
            <a:off x="251520" y="648788"/>
            <a:ext cx="8856984" cy="338554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sz="1600" dirty="0">
                <a:solidFill>
                  <a:srgbClr val="600000"/>
                </a:solidFill>
              </a:rPr>
              <a:t>Подпрограмма № </a:t>
            </a:r>
            <a:r>
              <a:rPr lang="ru-RU" sz="1600" dirty="0" smtClean="0">
                <a:solidFill>
                  <a:srgbClr val="600000"/>
                </a:solidFill>
              </a:rPr>
              <a:t>6 «Развитие промышленности в Архангельской </a:t>
            </a:r>
            <a:r>
              <a:rPr lang="ru-RU" sz="1600" dirty="0">
                <a:solidFill>
                  <a:srgbClr val="600000"/>
                </a:solidFill>
              </a:rPr>
              <a:t>области»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55576" y="113589"/>
            <a:ext cx="7579681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результаты реализации подпрограмм</a:t>
            </a: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/>
          </p:nvPr>
        </p:nvGraphicFramePr>
        <p:xfrm>
          <a:off x="159132" y="4199204"/>
          <a:ext cx="8877363" cy="26314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174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719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19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1598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0156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целевого показателя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епень 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-ния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</a:p>
                  </a:txBody>
                  <a:tcPr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16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strike="noStrike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декс промышленного производства (по отношению к уровню 2015 года)</a:t>
                      </a:r>
                      <a:r>
                        <a:rPr lang="ru-RU" sz="1100" b="1" strike="noStrike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100" b="1" strike="noStrik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,0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,8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80 %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16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strike="noStrike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выработки на одного занятого в сфере промышленного производства </a:t>
                      </a:r>
                      <a:br>
                        <a:rPr lang="ru-RU" sz="1100" b="1" strike="noStrike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100" b="1" strike="noStrike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о отношению к уровню 2015 года), %</a:t>
                      </a:r>
                      <a:endParaRPr lang="ru-RU" sz="1100" b="1" strike="noStrik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,0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7,3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,01 %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16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рост производства импортозамещающей продукции (по отношению к предыдущему году), %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%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216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strike="noStrike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роведенных заседаний комиссии по противодействию незаконному обороту промышленной продукции в Архангельской области с участием представителя управления Федеральной службы по надзору в сфере защиты прав потребителей и благополучия человека по Архангельской области</a:t>
                      </a:r>
                      <a:endParaRPr lang="ru-RU" sz="1100" b="1" strike="noStrike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%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159133" y="1022474"/>
            <a:ext cx="5616624" cy="31009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95326" y="1355491"/>
            <a:ext cx="2573727" cy="57606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softEdge rad="25400"/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C000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</a:t>
            </a:r>
          </a:p>
          <a:p>
            <a:pPr algn="ctr"/>
            <a:r>
              <a:rPr lang="ru-RU" sz="1200" b="1" dirty="0" smtClean="0">
                <a:solidFill>
                  <a:srgbClr val="FFC000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роекты развития»</a:t>
            </a:r>
            <a:endParaRPr lang="ru-R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005246" y="1355491"/>
            <a:ext cx="2610849" cy="57606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softEdge rad="25400"/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FFC000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ая </a:t>
            </a:r>
            <a:r>
              <a:rPr lang="ru-RU" sz="1200" b="1" dirty="0">
                <a:solidFill>
                  <a:srgbClr val="FFC000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е </a:t>
            </a:r>
            <a:endParaRPr lang="ru-RU" sz="1200" b="1" dirty="0" smtClean="0">
              <a:solidFill>
                <a:srgbClr val="FFC000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b="1" dirty="0" smtClean="0">
                <a:solidFill>
                  <a:srgbClr val="FFC000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>
                <a:solidFill>
                  <a:srgbClr val="FFC000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оборудования»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95326" y="2024052"/>
            <a:ext cx="2573727" cy="48104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>
            <a:softEdge rad="25400"/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kern="0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ация металлического </a:t>
            </a:r>
            <a:r>
              <a:rPr lang="ru-RU" sz="1000" b="1" kern="0" dirty="0" err="1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ухбашенного</a:t>
            </a:r>
            <a:r>
              <a:rPr lang="ru-RU" sz="1000" b="1" kern="0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ка «Док-10» проекта Р39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016980" y="2024052"/>
            <a:ext cx="2610849" cy="48104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>
            <a:softEdge rad="25400"/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kern="0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ация существующей линии по производству супов и бульонов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95325" y="2545040"/>
            <a:ext cx="2573727" cy="326733"/>
          </a:xfrm>
          <a:prstGeom prst="rect">
            <a:avLst/>
          </a:prstGeom>
          <a:solidFill>
            <a:srgbClr val="4472C4">
              <a:lumMod val="75000"/>
            </a:srgbClr>
          </a:solidFill>
          <a:ln w="635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стоимость проекта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1,3 млн. рублей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031642" y="2552443"/>
            <a:ext cx="2596187" cy="326733"/>
          </a:xfrm>
          <a:prstGeom prst="rect">
            <a:avLst/>
          </a:prstGeom>
          <a:solidFill>
            <a:srgbClr val="4472C4">
              <a:lumMod val="75000"/>
            </a:srgbClr>
          </a:solidFill>
          <a:ln w="635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стоимость проекта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,71 млн. рублей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06557" y="2919714"/>
            <a:ext cx="2573727" cy="26984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займа 25,0 </a:t>
            </a:r>
            <a:r>
              <a:rPr lang="ru-RU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лей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022817" y="2923717"/>
            <a:ext cx="2593278" cy="26984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займа 12,5 </a:t>
            </a:r>
            <a:r>
              <a:rPr lang="ru-RU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лей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306557" y="3237501"/>
            <a:ext cx="1241107" cy="3308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softEdge rad="25400"/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ФРП </a:t>
            </a:r>
          </a:p>
          <a:p>
            <a:pPr algn="ctr"/>
            <a:r>
              <a:rPr lang="ru-RU" sz="800" b="1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,5 млн. рублей</a:t>
            </a:r>
            <a:endParaRPr lang="ru-RU" sz="8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593420" y="3247392"/>
            <a:ext cx="1286864" cy="32097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>
            <a:softEdge rad="25400"/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й ФРП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,5 млн. рублей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06557" y="3626198"/>
            <a:ext cx="2573727" cy="401460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>
            <a:softEdge rad="25400"/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 smtClean="0">
                <a:solidFill>
                  <a:srgbClr val="FFC000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11 высокопроизводительных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 smtClean="0">
                <a:solidFill>
                  <a:srgbClr val="FFC000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их мест</a:t>
            </a:r>
            <a:endParaRPr lang="ru-RU" sz="900" b="1" kern="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20711" y="1066578"/>
            <a:ext cx="5021862" cy="236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100" b="1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развития промышленности Архангельской области</a:t>
            </a:r>
            <a:endParaRPr lang="ru-RU" sz="11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1240830">
            <a:off x="158487" y="785032"/>
            <a:ext cx="662289" cy="662289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3016980" y="3247392"/>
            <a:ext cx="2610849" cy="3209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softEdge rad="25400"/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й ФРП</a:t>
            </a:r>
          </a:p>
          <a:p>
            <a:pPr algn="ctr"/>
            <a:r>
              <a:rPr lang="ru-RU" sz="1000" b="1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,5 млн. рублей</a:t>
            </a:r>
            <a:endParaRPr lang="ru-RU" sz="10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027793" y="3635572"/>
            <a:ext cx="2603884" cy="37695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softEdge rad="25400"/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rgbClr val="FFC000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11 рабочих мест</a:t>
            </a:r>
            <a:endParaRPr lang="ru-RU" sz="11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Схема 11"/>
          <p:cNvGraphicFramePr/>
          <p:nvPr>
            <p:extLst/>
          </p:nvPr>
        </p:nvGraphicFramePr>
        <p:xfrm>
          <a:off x="5220072" y="1795903"/>
          <a:ext cx="4374461" cy="21199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11950" y="1033922"/>
            <a:ext cx="1252731" cy="60960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164681" y="1235504"/>
            <a:ext cx="1800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rgbClr val="4454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достроительный кластер Архангельской области</a:t>
            </a:r>
            <a:endParaRPr lang="ru-RU" sz="1000" b="1" dirty="0">
              <a:solidFill>
                <a:srgbClr val="44546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8" name="Рисунок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2392" y="501024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03871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694684" y="768556"/>
            <a:ext cx="7848872" cy="214649"/>
            <a:chOff x="101600" y="701588"/>
            <a:chExt cx="8940800" cy="21999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6948422" y="731827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3" name="Подзаголовок 1"/>
          <p:cNvSpPr txBox="1">
            <a:spLocks/>
          </p:cNvSpPr>
          <p:nvPr/>
        </p:nvSpPr>
        <p:spPr>
          <a:xfrm>
            <a:off x="683568" y="266089"/>
            <a:ext cx="7167681" cy="81122"/>
          </a:xfrm>
          <a:prstGeom prst="rect">
            <a:avLst/>
          </a:prstGeom>
        </p:spPr>
        <p:txBody>
          <a:bodyPr vert="horz" lIns="51435" tIns="25718" rIns="51435" bIns="25718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 cap="all">
                <a:solidFill>
                  <a:srgbClr val="0077C8"/>
                </a:solidFill>
                <a:latin typeface="+mn-lt"/>
                <a:ea typeface="+mn-ea"/>
                <a:cs typeface="+mn-cs"/>
              </a:defRPr>
            </a:lvl1pPr>
            <a:lvl2pPr marL="48650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7300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5950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46008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43251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19011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0551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9201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700" b="1" dirty="0" smtClean="0">
                <a:solidFill>
                  <a:srgbClr val="003C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Национальный </a:t>
            </a:r>
            <a:r>
              <a:rPr lang="ru-RU" sz="1700" b="1" dirty="0">
                <a:solidFill>
                  <a:srgbClr val="003C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br>
              <a:rPr lang="ru-RU" sz="1700" b="1" dirty="0">
                <a:solidFill>
                  <a:srgbClr val="003C8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700" b="1" dirty="0" smtClean="0">
                <a:solidFill>
                  <a:srgbClr val="003C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«</a:t>
            </a:r>
            <a:r>
              <a:rPr lang="ru-RU" sz="1700" b="1" dirty="0">
                <a:solidFill>
                  <a:srgbClr val="003C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ь Труда и </a:t>
            </a:r>
            <a:r>
              <a:rPr lang="ru-RU" sz="1700" b="1" dirty="0" smtClean="0">
                <a:solidFill>
                  <a:srgbClr val="003C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занятости</a:t>
            </a:r>
            <a:r>
              <a:rPr lang="ru-RU" sz="1700" b="1" dirty="0">
                <a:solidFill>
                  <a:srgbClr val="003C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14302" y="1768813"/>
            <a:ext cx="7255280" cy="45564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национального проекта – обеспечить к 2024 году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14303" y="3685119"/>
            <a:ext cx="4487029" cy="623009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000 предприятий-участников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14302" y="2239064"/>
            <a:ext cx="4487030" cy="143807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5 % ежегодный прирост производительности труда на средних </a:t>
            </a:r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упных предприятиях базовых </a:t>
            </a:r>
            <a:r>
              <a:rPr lang="ru-RU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ырьевых</a:t>
            </a:r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раслей экономики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14302" y="1039818"/>
            <a:ext cx="7255280" cy="66008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у Архангельская область досрочно вступила 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еализацию </a:t>
            </a: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ого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</a:t>
            </a:r>
            <a:endParaRPr lang="ru-RU" dirty="0">
              <a:solidFill>
                <a:srgbClr val="C000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433185" y="2715670"/>
            <a:ext cx="2544256" cy="1643864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845113" y="4519976"/>
            <a:ext cx="78277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3C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проект «Адресная поддержка повышения производительности труда на предприятиях»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3608" y="5369842"/>
            <a:ext cx="1350070" cy="414025"/>
          </a:xfrm>
          <a:prstGeom prst="rect">
            <a:avLst/>
          </a:prstGeom>
        </p:spPr>
      </p:pic>
      <p:sp>
        <p:nvSpPr>
          <p:cNvPr id="17" name="Подзаголовок 1"/>
          <p:cNvSpPr txBox="1">
            <a:spLocks/>
          </p:cNvSpPr>
          <p:nvPr/>
        </p:nvSpPr>
        <p:spPr>
          <a:xfrm>
            <a:off x="1004709" y="5828570"/>
            <a:ext cx="1383983" cy="58864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ru-RU" sz="825" b="1" dirty="0">
                <a:solidFill>
                  <a:srgbClr val="003C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центр компетенций в сфере производительности труда</a:t>
            </a:r>
          </a:p>
          <a:p>
            <a:pPr fontAlgn="auto">
              <a:spcAft>
                <a:spcPts val="0"/>
              </a:spcAft>
            </a:pPr>
            <a:endParaRPr lang="ru-RU" sz="825" b="1" dirty="0">
              <a:solidFill>
                <a:srgbClr val="003C8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3131840" y="5369842"/>
            <a:ext cx="2063129" cy="1042469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b="1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Внедрение лучших практик бережливого производства на конкретных предприятиях и обучение сотрудников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652120" y="5382420"/>
            <a:ext cx="2615822" cy="103568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прибыли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операционной эффективности (совершенствование процессов, увеличение оборотных средств, снижение запасов,  повышение качества продукции, снижение времени на производство)</a:t>
            </a:r>
          </a:p>
        </p:txBody>
      </p:sp>
    </p:spTree>
    <p:extLst>
      <p:ext uri="{BB962C8B-B14F-4D97-AF65-F5344CB8AC3E}">
        <p14:creationId xmlns:p14="http://schemas.microsoft.com/office/powerpoint/2010/main" xmlns="" val="408599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95695" y="707100"/>
            <a:ext cx="8940800" cy="219990"/>
            <a:chOff x="101600" y="701588"/>
            <a:chExt cx="8940800" cy="21999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6948422" y="731827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821679" y="209513"/>
            <a:ext cx="7488832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2000" b="1" dirty="0" smtClean="0">
                <a:solidFill>
                  <a:srgbClr val="5B9BD5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приоритеты реализации подпрограмм на 2020 год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00274" y="1412776"/>
            <a:ext cx="8731643" cy="5055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450" b="1" dirty="0" smtClean="0">
                <a:solidFill>
                  <a:srgbClr val="960000"/>
                </a:solidFill>
              </a:rPr>
              <a:t>Совершенствование </a:t>
            </a:r>
            <a:r>
              <a:rPr lang="ru-RU" sz="1450" b="1" dirty="0">
                <a:solidFill>
                  <a:srgbClr val="960000"/>
                </a:solidFill>
              </a:rPr>
              <a:t>законодательства Архангельской области с целью </a:t>
            </a:r>
            <a:r>
              <a:rPr lang="ru-RU" sz="1450" b="1" dirty="0" smtClean="0">
                <a:solidFill>
                  <a:srgbClr val="002060"/>
                </a:solidFill>
              </a:rPr>
              <a:t>оказания </a:t>
            </a:r>
            <a:r>
              <a:rPr lang="ru-RU" sz="1450" b="1" dirty="0">
                <a:solidFill>
                  <a:srgbClr val="002060"/>
                </a:solidFill>
              </a:rPr>
              <a:t>государственной поддержки организациям, реализующим региональные инвестиционные </a:t>
            </a:r>
            <a:r>
              <a:rPr lang="ru-RU" sz="1450" b="1" dirty="0" smtClean="0">
                <a:solidFill>
                  <a:srgbClr val="002060"/>
                </a:solidFill>
              </a:rPr>
              <a:t>проекты 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450" b="1" dirty="0" smtClean="0">
                <a:solidFill>
                  <a:srgbClr val="960000"/>
                </a:solidFill>
              </a:rPr>
              <a:t>Формирование </a:t>
            </a:r>
            <a:r>
              <a:rPr lang="ru-RU" sz="1450" b="1" dirty="0">
                <a:solidFill>
                  <a:srgbClr val="960000"/>
                </a:solidFill>
              </a:rPr>
              <a:t>законодательной </a:t>
            </a:r>
            <a:r>
              <a:rPr lang="ru-RU" sz="1450" b="1" dirty="0" smtClean="0">
                <a:solidFill>
                  <a:srgbClr val="960000"/>
                </a:solidFill>
              </a:rPr>
              <a:t>базы </a:t>
            </a:r>
            <a:r>
              <a:rPr lang="ru-RU" sz="1450" b="1" dirty="0" smtClean="0">
                <a:solidFill>
                  <a:srgbClr val="002060"/>
                </a:solidFill>
              </a:rPr>
              <a:t>для возможности </a:t>
            </a:r>
            <a:r>
              <a:rPr lang="ru-RU" sz="1450" b="1" dirty="0">
                <a:solidFill>
                  <a:srgbClr val="002060"/>
                </a:solidFill>
              </a:rPr>
              <a:t>применения инвестиционного налогового </a:t>
            </a:r>
            <a:r>
              <a:rPr lang="ru-RU" sz="1450" b="1" dirty="0" smtClean="0">
                <a:solidFill>
                  <a:srgbClr val="002060"/>
                </a:solidFill>
              </a:rPr>
              <a:t>кредита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450" b="1" dirty="0" smtClean="0">
                <a:solidFill>
                  <a:srgbClr val="960000"/>
                </a:solidFill>
              </a:rPr>
              <a:t>Совершенствование </a:t>
            </a:r>
            <a:r>
              <a:rPr lang="ru-RU" sz="1450" b="1" dirty="0">
                <a:solidFill>
                  <a:srgbClr val="960000"/>
                </a:solidFill>
              </a:rPr>
              <a:t>законодательства Архангельской области </a:t>
            </a:r>
            <a:r>
              <a:rPr lang="ru-RU" sz="1450" b="1" dirty="0">
                <a:solidFill>
                  <a:srgbClr val="002060"/>
                </a:solidFill>
              </a:rPr>
              <a:t>в рамках специальных инвестиционных </a:t>
            </a:r>
            <a:r>
              <a:rPr lang="ru-RU" sz="1450" b="1" dirty="0" smtClean="0">
                <a:solidFill>
                  <a:srgbClr val="002060"/>
                </a:solidFill>
              </a:rPr>
              <a:t>контрактов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450" b="1" dirty="0" smtClean="0">
                <a:solidFill>
                  <a:srgbClr val="960000"/>
                </a:solidFill>
              </a:rPr>
              <a:t>Вовлечение </a:t>
            </a:r>
            <a:r>
              <a:rPr lang="ru-RU" sz="1450" b="1" dirty="0">
                <a:solidFill>
                  <a:srgbClr val="960000"/>
                </a:solidFill>
              </a:rPr>
              <a:t>8 предприятий Архангельской области </a:t>
            </a:r>
            <a:r>
              <a:rPr lang="ru-RU" sz="1450" b="1" dirty="0">
                <a:solidFill>
                  <a:srgbClr val="002060"/>
                </a:solidFill>
              </a:rPr>
              <a:t>в реализацию мероприятий национального проекта «Производительность труда </a:t>
            </a:r>
            <a:r>
              <a:rPr lang="ru-RU" sz="1450" b="1" dirty="0" smtClean="0">
                <a:solidFill>
                  <a:srgbClr val="002060"/>
                </a:solidFill>
              </a:rPr>
              <a:t>и </a:t>
            </a:r>
            <a:r>
              <a:rPr lang="ru-RU" sz="1450" b="1" dirty="0">
                <a:solidFill>
                  <a:srgbClr val="002060"/>
                </a:solidFill>
              </a:rPr>
              <a:t>поддержка занятости»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450" b="1" dirty="0" smtClean="0">
                <a:solidFill>
                  <a:srgbClr val="960000"/>
                </a:solidFill>
              </a:rPr>
              <a:t>Открытие представительства </a:t>
            </a:r>
            <a:r>
              <a:rPr lang="ru-RU" sz="1450" b="1" dirty="0" smtClean="0">
                <a:solidFill>
                  <a:srgbClr val="002060"/>
                </a:solidFill>
              </a:rPr>
              <a:t>центра «Мой бизнес» в городе Котласе Архангельской области</a:t>
            </a:r>
          </a:p>
          <a:p>
            <a:pPr marL="285750" lvl="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r>
              <a:rPr lang="ru-RU" sz="1450" b="1" dirty="0" smtClean="0">
                <a:solidFill>
                  <a:srgbClr val="960000"/>
                </a:solidFill>
              </a:rPr>
              <a:t>Проработка предложений по налоговым преференциям </a:t>
            </a:r>
            <a:r>
              <a:rPr lang="ru-RU" sz="1450" b="1" dirty="0" smtClean="0">
                <a:solidFill>
                  <a:srgbClr val="002060"/>
                </a:solidFill>
              </a:rPr>
              <a:t>для субъектов малого и среднего предпринимательства</a:t>
            </a:r>
            <a:endParaRPr lang="ru-RU" sz="1450" b="1" dirty="0">
              <a:solidFill>
                <a:srgbClr val="002060"/>
              </a:solidFill>
            </a:endParaRPr>
          </a:p>
          <a:p>
            <a:pPr>
              <a:spcAft>
                <a:spcPts val="1800"/>
              </a:spcAft>
            </a:pPr>
            <a:endParaRPr lang="ru-RU" sz="1450" b="1" dirty="0">
              <a:solidFill>
                <a:srgbClr val="002060"/>
              </a:solidFill>
            </a:endParaRP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ü"/>
            </a:pPr>
            <a:endParaRPr lang="ru-RU" sz="145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99333" y="1628800"/>
            <a:ext cx="410445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0000">
              <a:spcAft>
                <a:spcPts val="0"/>
              </a:spcAft>
            </a:pPr>
            <a:endParaRPr lang="ru-RU" sz="1400" b="1" dirty="0">
              <a:solidFill>
                <a:srgbClr val="4472C4">
                  <a:lumMod val="50000"/>
                </a:srgbClr>
              </a:solidFill>
            </a:endParaRPr>
          </a:p>
          <a:p>
            <a:pPr marL="540000">
              <a:spcAft>
                <a:spcPts val="0"/>
              </a:spcAft>
            </a:pPr>
            <a:endParaRPr lang="ru-RU" sz="145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6314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108578" y="505822"/>
            <a:ext cx="8994895" cy="224873"/>
            <a:chOff x="101600" y="701588"/>
            <a:chExt cx="8940800" cy="211708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6962435" y="723545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7" name="Text Box 4"/>
          <p:cNvSpPr txBox="1">
            <a:spLocks noChangeArrowheads="1"/>
          </p:cNvSpPr>
          <p:nvPr/>
        </p:nvSpPr>
        <p:spPr bwMode="auto">
          <a:xfrm>
            <a:off x="79497" y="789935"/>
            <a:ext cx="9064503" cy="584775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sz="1600" dirty="0">
                <a:solidFill>
                  <a:srgbClr val="600000"/>
                </a:solidFill>
              </a:rPr>
              <a:t>Подпрограмма № 1 «Формирование благоприятной среды для развития инвестиционной деятельности»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1560" y="70714"/>
            <a:ext cx="836454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результаты реализации подпрограмм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9104" y="1228511"/>
            <a:ext cx="8864095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000" algn="just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ан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взаимодействия исполнительных органов государственной власти Архангельской области при рассмотрении предложения лица, выступившего с инициативой заключения концессионного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шения.</a:t>
            </a:r>
          </a:p>
          <a:p>
            <a:pPr indent="450000" algn="just"/>
            <a:endParaRPr lang="ru-RU" sz="13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50000" algn="just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а возможность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я инвесторами на территории Архангельской области инвестиционного налогового вычета по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у на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быль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й (областной закон Архангельской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декабря 2019 года №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7-13-ОЗ).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122420" y="4653136"/>
          <a:ext cx="8887391" cy="1787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877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728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28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5389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целевого показателя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епень достижения, %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5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908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декс физического объема инвестиций (в основной капитал)</a:t>
                      </a:r>
                      <a:r>
                        <a:rPr lang="ru-RU" sz="1100" b="1" baseline="30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)</a:t>
                      </a: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b="1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,2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,4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,9  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552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объема инвестиций в основной капитал к валовому региональному продукту</a:t>
                      </a:r>
                      <a:r>
                        <a:rPr lang="ru-RU" sz="1100" b="1" baseline="300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)</a:t>
                      </a:r>
                      <a:r>
                        <a:rPr lang="ru-RU" sz="11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5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9</a:t>
                      </a:r>
                    </a:p>
                  </a:txBody>
                  <a:tcPr marL="7144" marR="7144" marT="714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9,4 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11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личество инвестиционных проектов, принятых к реализации с применением механизма государственно-частного партнерства, единиц</a:t>
                      </a:r>
                      <a:endParaRPr lang="ru-RU" sz="11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15" name="Диаграмма 14"/>
          <p:cNvGraphicFramePr/>
          <p:nvPr>
            <p:extLst/>
          </p:nvPr>
        </p:nvGraphicFramePr>
        <p:xfrm>
          <a:off x="149104" y="2521173"/>
          <a:ext cx="3630808" cy="2176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/>
          <p:cNvGraphicFramePr/>
          <p:nvPr>
            <p:extLst/>
          </p:nvPr>
        </p:nvGraphicFramePr>
        <p:xfrm>
          <a:off x="4427984" y="2521173"/>
          <a:ext cx="3491879" cy="2176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239378" y="6381328"/>
            <a:ext cx="8864095" cy="420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800" b="1" baseline="30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__________________________________________________________________________________________________________________________________________________________________________________________________________________________________</a:t>
            </a:r>
          </a:p>
          <a:p>
            <a:pPr algn="just"/>
            <a:r>
              <a:rPr lang="ru-RU" sz="800" b="1" baseline="30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</a:t>
            </a:r>
            <a:r>
              <a:rPr lang="ru-RU" sz="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дварительные данные.</a:t>
            </a:r>
            <a:endParaRPr lang="ru-RU" sz="800" b="1" baseline="300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800" b="1" baseline="30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ru-RU" sz="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представлены за 2018 год</a:t>
            </a:r>
            <a:r>
              <a:rPr 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Фактические значения </a:t>
            </a:r>
            <a:r>
              <a:rPr lang="ru-RU" sz="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П по итогам за 2019 год </a:t>
            </a:r>
            <a:r>
              <a:rPr 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ут </a:t>
            </a:r>
            <a:r>
              <a:rPr lang="ru-RU" sz="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убликованы Архангельскстатом в </a:t>
            </a:r>
            <a:r>
              <a:rPr 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врале 2021 </a:t>
            </a:r>
            <a:r>
              <a:rPr lang="ru-RU" sz="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.</a:t>
            </a:r>
            <a:endParaRPr lang="ru-RU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0976" y="1104754"/>
            <a:ext cx="423074" cy="36991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0976" y="1893443"/>
            <a:ext cx="423074" cy="369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35382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2365286" y="2767816"/>
            <a:ext cx="6621552" cy="133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Picture 39" descr="Знак на въезде в город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919" y="2766777"/>
            <a:ext cx="2043504" cy="1224136"/>
          </a:xfrm>
          <a:prstGeom prst="rect">
            <a:avLst/>
          </a:prstGeom>
          <a:noFill/>
          <a:ln w="4445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Box 8"/>
          <p:cNvSpPr txBox="1">
            <a:spLocks noChangeArrowheads="1"/>
          </p:cNvSpPr>
          <p:nvPr/>
        </p:nvSpPr>
        <p:spPr bwMode="auto">
          <a:xfrm>
            <a:off x="2365286" y="3165023"/>
            <a:ext cx="6646952" cy="501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2800" b="1" spc="40" dirty="0" smtClean="0">
                <a:solidFill>
                  <a:srgbClr val="002060"/>
                </a:solidFill>
                <a:latin typeface="+mn-lt"/>
                <a:cs typeface="Times New Roman" panose="02020603050405020304" pitchFamily="18" charset="0"/>
              </a:rPr>
              <a:t>СПАСИБО ЗА ВНИМАНИЕ!</a:t>
            </a:r>
            <a:endParaRPr lang="ru-RU" sz="2800" b="1" spc="40" dirty="0">
              <a:solidFill>
                <a:srgbClr val="002060"/>
              </a:solidFill>
              <a:latin typeface="+mn-lt"/>
              <a:cs typeface="Times New Roman" panose="02020603050405020304" pitchFamily="18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71438" y="4159762"/>
            <a:ext cx="8940800" cy="219990"/>
            <a:chOff x="101600" y="701588"/>
            <a:chExt cx="8940800" cy="219990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6948422" y="731827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109538" y="2388933"/>
            <a:ext cx="2014960" cy="18975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54899" y="2561942"/>
            <a:ext cx="7488000" cy="11645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2063" y="2552666"/>
            <a:ext cx="7884000" cy="6474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 rot="5400000">
            <a:off x="1585139" y="1282081"/>
            <a:ext cx="45719" cy="248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868144" y="389804"/>
            <a:ext cx="2767824" cy="1140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96562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TextBox 5"/>
          <p:cNvSpPr txBox="1">
            <a:spLocks noChangeArrowheads="1"/>
          </p:cNvSpPr>
          <p:nvPr/>
        </p:nvSpPr>
        <p:spPr bwMode="auto">
          <a:xfrm>
            <a:off x="8633182" y="6381328"/>
            <a:ext cx="330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ru-RU" altLang="ru-RU" sz="14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01600" y="832746"/>
            <a:ext cx="8940800" cy="219990"/>
            <a:chOff x="101600" y="701588"/>
            <a:chExt cx="8940800" cy="219990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6948422" y="731827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Box 7"/>
          <p:cNvSpPr txBox="1">
            <a:spLocks noChangeArrowheads="1"/>
          </p:cNvSpPr>
          <p:nvPr/>
        </p:nvSpPr>
        <p:spPr bwMode="auto">
          <a:xfrm>
            <a:off x="509588" y="245044"/>
            <a:ext cx="8611180" cy="383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нвестиционный налоговый вычет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73089034"/>
              </p:ext>
            </p:extLst>
          </p:nvPr>
        </p:nvGraphicFramePr>
        <p:xfrm>
          <a:off x="688142" y="1124745"/>
          <a:ext cx="8158122" cy="5564558"/>
        </p:xfrm>
        <a:graphic>
          <a:graphicData uri="http://schemas.openxmlformats.org/drawingml/2006/table">
            <a:tbl>
              <a:tblPr firstRow="1" bandRow="1"/>
              <a:tblGrid>
                <a:gridCol w="5019761">
                  <a:extLst>
                    <a:ext uri="{9D8B030D-6E8A-4147-A177-3AD203B41FA5}">
                      <a16:colId xmlns:a16="http://schemas.microsoft.com/office/drawing/2014/main" xmlns="" val="894811430"/>
                    </a:ext>
                  </a:extLst>
                </a:gridCol>
                <a:gridCol w="3138361">
                  <a:extLst>
                    <a:ext uri="{9D8B030D-6E8A-4147-A177-3AD203B41FA5}">
                      <a16:colId xmlns:a16="http://schemas.microsoft.com/office/drawing/2014/main" xmlns="" val="1054527281"/>
                    </a:ext>
                  </a:extLst>
                </a:gridCol>
              </a:tblGrid>
              <a:tr h="1031632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2000" dirty="0" smtClean="0">
                          <a:solidFill>
                            <a:srgbClr val="002060"/>
                          </a:solidFill>
                        </a:rPr>
                        <a:t>Областной закон  от 24 июня 2009 года № 52-4-ОЗ </a:t>
                      </a:r>
                    </a:p>
                    <a:p>
                      <a:pPr algn="ctr"/>
                      <a:r>
                        <a:rPr lang="ru-RU" sz="2000" dirty="0" smtClean="0">
                          <a:solidFill>
                            <a:srgbClr val="002060"/>
                          </a:solidFill>
                        </a:rPr>
                        <a:t>«О налоговых льготах при осуществлении инвестиционной деятельности на территории Архангельской области» </a:t>
                      </a: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xmlns="" val="51826881"/>
                  </a:ext>
                </a:extLst>
              </a:tr>
              <a:tr h="7190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60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тавка налога для определения предельной величины ИНВ</a:t>
                      </a:r>
                      <a:endParaRPr kumimoji="0" lang="ru-RU" sz="2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ru-RU" sz="2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%</a:t>
                      </a:r>
                      <a:endParaRPr kumimoji="0" lang="ru-RU" sz="2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69531212"/>
                  </a:ext>
                </a:extLst>
              </a:tr>
              <a:tr h="406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60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змер инвестиционного вычета </a:t>
                      </a:r>
                      <a:endParaRPr kumimoji="0" lang="ru-RU" sz="2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ru-RU" sz="2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kumimoji="0" lang="ru-RU" sz="2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3215206"/>
                  </a:ext>
                </a:extLst>
              </a:tr>
              <a:tr h="7190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60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должительность применения ИНВ</a:t>
                      </a:r>
                      <a:endParaRPr kumimoji="0" lang="ru-RU" sz="2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kumimoji="0" lang="ru-RU" sz="2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 более 3 налоговых периодов</a:t>
                      </a:r>
                      <a:endParaRPr kumimoji="0" lang="ru-RU" sz="2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19662007"/>
                  </a:ext>
                </a:extLst>
              </a:tr>
              <a:tr h="406400">
                <a:tc gridSpan="2">
                  <a:txBody>
                    <a:bodyPr/>
                    <a:lstStyle/>
                    <a:p>
                      <a:pPr marL="0" marR="0" lvl="0" indent="0" algn="ctr" defTabSz="960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словия применения ИНВ</a:t>
                      </a:r>
                      <a:endParaRPr kumimoji="0" lang="ru-RU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0" lang="ru-RU" sz="2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8209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marR="0" lvl="0" indent="-342900" algn="just" defTabSz="960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щая  сумма ИНВ не может превышать 50 процентов общего объема расходов.</a:t>
                      </a:r>
                    </a:p>
                    <a:p>
                      <a:pPr marL="342900" marR="0" lvl="0" indent="-342900" algn="just" defTabSz="960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сходы осуществлены в рамках реализации инвестиционного проекта, включенного в реестр приоритетных инвестиционных проектов Архангельской области.</a:t>
                      </a:r>
                    </a:p>
                    <a:p>
                      <a:pPr marL="342900" marR="0" lvl="0" indent="-342900" algn="just" defTabSz="960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НВ не предоставляется обособленным подразделениям организаций.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just" defTabSz="960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 anchorCtr="1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338995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055292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101600" y="832746"/>
            <a:ext cx="8940800" cy="219990"/>
            <a:chOff x="101600" y="701588"/>
            <a:chExt cx="8940800" cy="219990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6948422" y="731827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Box 7"/>
          <p:cNvSpPr txBox="1">
            <a:spLocks noChangeArrowheads="1"/>
          </p:cNvSpPr>
          <p:nvPr/>
        </p:nvSpPr>
        <p:spPr bwMode="auto">
          <a:xfrm>
            <a:off x="509588" y="259663"/>
            <a:ext cx="8611180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85000"/>
              </a:lnSpc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результаты реализации подпрограмм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09588" y="1108716"/>
            <a:ext cx="78606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solidFill>
                  <a:srgbClr val="600000"/>
                </a:solidFill>
              </a:rPr>
              <a:t>Подпрограмма № 1 «Формирование благоприятной среды для развития инвестиционной деятельности» 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88366498"/>
              </p:ext>
            </p:extLst>
          </p:nvPr>
        </p:nvGraphicFramePr>
        <p:xfrm>
          <a:off x="718173" y="1693491"/>
          <a:ext cx="7903789" cy="33779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908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707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707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7144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808797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effectLst/>
                        </a:rPr>
                        <a:t>Приоритетные инвестиционные проекты Архангельской област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117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оказател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Количество инвестиционных проектов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Общий объем инвестиций </a:t>
                      </a:r>
                      <a:br>
                        <a:rPr lang="ru-RU" sz="1100" dirty="0">
                          <a:effectLst/>
                        </a:rPr>
                      </a:br>
                      <a:r>
                        <a:rPr lang="ru-RU" sz="1100" dirty="0">
                          <a:effectLst/>
                        </a:rPr>
                        <a:t>(млн. руб.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Создание новых рабочих мест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9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Реализуемые </a:t>
                      </a:r>
                      <a:br>
                        <a:rPr lang="ru-RU" sz="1100" dirty="0">
                          <a:effectLst/>
                        </a:rPr>
                      </a:br>
                      <a:r>
                        <a:rPr lang="ru-RU" sz="1100" dirty="0">
                          <a:effectLst/>
                        </a:rPr>
                        <a:t>инвестиционные проект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8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71 548,5 (план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5 704 (план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006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Планируемые к реализации инвестиционные проект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5 298,0 (план)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609 (план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67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Реализованные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инвестиционные проект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9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38 152,0 (факт)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4 304 (факт)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0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</a:rPr>
                        <a:t>ИТОГО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</a:rPr>
                        <a:t>20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</a:rPr>
                        <a:t>224 998,5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</a:rPr>
                        <a:t>10 617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5576" y="5143642"/>
            <a:ext cx="2319830" cy="141052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491880" y="5143642"/>
            <a:ext cx="2343837" cy="1411517"/>
          </a:xfrm>
          <a:prstGeom prst="rect">
            <a:avLst/>
          </a:prstGeom>
        </p:spPr>
      </p:pic>
      <p:pic>
        <p:nvPicPr>
          <p:cNvPr id="14" name="Picture 16" descr="https://splh.ru/obektyi/12/exposit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6252191" y="5146430"/>
            <a:ext cx="2374775" cy="1392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15331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61" r:id="rId7" imgW="0" imgH="0" progId="">
              <p:embed/>
            </p:oleObj>
          </a:graphicData>
        </a:graphic>
      </p:graphicFrame>
      <p:sp>
        <p:nvSpPr>
          <p:cNvPr id="5123" name="Rectangle 182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C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7462" tIns="0" rIns="17462" bIns="0" anchor="ctr"/>
          <a:lstStyle>
            <a:lvl1pPr>
              <a:spcBef>
                <a:spcPct val="20000"/>
              </a:spcBef>
              <a:buClr>
                <a:schemeClr val="hlink"/>
              </a:buClr>
              <a:buSzPct val="11000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000">
                <a:solidFill>
                  <a:schemeClr val="tx1"/>
                </a:solidFill>
                <a:cs typeface="Arial" panose="020B0604020202020204" pitchFamily="34" charset="0"/>
              </a:rPr>
              <a:t>5%</a:t>
            </a:r>
          </a:p>
        </p:txBody>
      </p:sp>
      <p:sp>
        <p:nvSpPr>
          <p:cNvPr id="5124" name="Rectangle 207"/>
          <p:cNvSpPr>
            <a:spLocks noChangeArrowheads="1"/>
          </p:cNvSpPr>
          <p:nvPr/>
        </p:nvSpPr>
        <p:spPr bwMode="auto">
          <a:xfrm>
            <a:off x="179388" y="6381750"/>
            <a:ext cx="252095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spcBef>
                <a:spcPct val="20000"/>
              </a:spcBef>
              <a:buClr>
                <a:schemeClr val="hlink"/>
              </a:buClr>
              <a:buSzPct val="11000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solidFill>
                <a:schemeClr val="tx1"/>
              </a:solidFill>
            </a:endParaRPr>
          </a:p>
        </p:txBody>
      </p:sp>
      <p:sp>
        <p:nvSpPr>
          <p:cNvPr id="5125" name="Rectangle 16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389" y="207963"/>
            <a:ext cx="8713786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lr>
                <a:schemeClr val="hlink"/>
              </a:buClr>
              <a:buSzPct val="11000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</a:rPr>
              <a:t>Участие Архангельской области  в выставочной экспозиции  </a:t>
            </a:r>
            <a:r>
              <a:rPr lang="ru-RU" altLang="ru-RU" sz="1800" b="1" dirty="0" smtClean="0">
                <a:solidFill>
                  <a:srgbClr val="002060"/>
                </a:solidFill>
              </a:rPr>
              <a:t/>
            </a:r>
            <a:br>
              <a:rPr lang="ru-RU" altLang="ru-RU" sz="1800" b="1" dirty="0" smtClean="0">
                <a:solidFill>
                  <a:srgbClr val="002060"/>
                </a:solidFill>
              </a:rPr>
            </a:br>
            <a:r>
              <a:rPr lang="ru-RU" altLang="ru-RU" sz="1800" b="1" dirty="0" smtClean="0">
                <a:solidFill>
                  <a:srgbClr val="002060"/>
                </a:solidFill>
              </a:rPr>
              <a:t>V </a:t>
            </a:r>
            <a:r>
              <a:rPr lang="ru-RU" altLang="ru-RU" sz="1800" b="1" dirty="0">
                <a:solidFill>
                  <a:srgbClr val="002060"/>
                </a:solidFill>
              </a:rPr>
              <a:t>Международного арктического форума «Арктика - территория диалога» </a:t>
            </a:r>
          </a:p>
        </p:txBody>
      </p:sp>
      <p:sp>
        <p:nvSpPr>
          <p:cNvPr id="14" name="Rectangle 3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79838" y="1052513"/>
            <a:ext cx="5113337" cy="44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prstDash val="lgDash"/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110000"/>
              <a:buChar char="•"/>
              <a:defRPr sz="16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800000"/>
              </a:buClr>
              <a:buFont typeface="Arial" charset="0"/>
              <a:buChar char="►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800000"/>
              </a:buClr>
              <a:buFont typeface="Arial" charset="0"/>
              <a:buChar char="►"/>
              <a:defRPr sz="12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altLang="ru-RU" sz="1450" b="1" dirty="0" smtClean="0">
                <a:solidFill>
                  <a:schemeClr val="tx1"/>
                </a:solidFill>
              </a:rPr>
              <a:t> </a:t>
            </a:r>
            <a:r>
              <a:rPr lang="ru-RU" dirty="0" smtClean="0"/>
              <a:t>Экономический</a:t>
            </a:r>
            <a:r>
              <a:rPr lang="ru-RU" dirty="0"/>
              <a:t>, научный, культурный и туристический потенциал </a:t>
            </a:r>
            <a:r>
              <a:rPr lang="ru-RU" dirty="0" smtClean="0"/>
              <a:t>Архангельской области</a:t>
            </a:r>
            <a:endParaRPr lang="ru-RU" altLang="ru-RU" sz="1450" dirty="0" smtClean="0">
              <a:solidFill>
                <a:schemeClr val="tx1"/>
              </a:solidFill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 smtClean="0"/>
              <a:t>Библиотека </a:t>
            </a:r>
            <a:r>
              <a:rPr lang="ru-RU" dirty="0"/>
              <a:t>«Русская Арктика</a:t>
            </a:r>
            <a:r>
              <a:rPr lang="ru-RU" dirty="0" smtClean="0"/>
              <a:t>»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altLang="ru-RU" sz="1450" dirty="0" smtClean="0">
                <a:solidFill>
                  <a:schemeClr val="tx1"/>
                </a:solidFill>
              </a:rPr>
              <a:t> </a:t>
            </a:r>
            <a:r>
              <a:rPr lang="ru-RU" dirty="0"/>
              <a:t>3</a:t>
            </a:r>
            <a:r>
              <a:rPr lang="en-US" dirty="0"/>
              <a:t>D</a:t>
            </a:r>
            <a:r>
              <a:rPr lang="ru-RU" dirty="0"/>
              <a:t>-тур </a:t>
            </a:r>
            <a:r>
              <a:rPr lang="ru-RU" dirty="0" smtClean="0"/>
              <a:t>с </a:t>
            </a:r>
            <a:r>
              <a:rPr lang="ru-RU" dirty="0"/>
              <a:t>Арктического  плавучего  </a:t>
            </a:r>
            <a:r>
              <a:rPr lang="ru-RU" dirty="0" smtClean="0"/>
              <a:t>университета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altLang="ru-RU" sz="1450" dirty="0" smtClean="0">
                <a:solidFill>
                  <a:schemeClr val="tx1"/>
                </a:solidFill>
              </a:rPr>
              <a:t> </a:t>
            </a:r>
            <a:r>
              <a:rPr lang="ru-RU" dirty="0" smtClean="0"/>
              <a:t>Ювелирные </a:t>
            </a:r>
            <a:r>
              <a:rPr lang="ru-RU" dirty="0"/>
              <a:t>изделия с северными </a:t>
            </a:r>
            <a:r>
              <a:rPr lang="ru-RU" dirty="0" smtClean="0"/>
              <a:t>бриллиантами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endParaRPr lang="ru-RU" altLang="ru-RU" sz="1000" dirty="0">
              <a:solidFill>
                <a:schemeClr val="tx1"/>
              </a:solidFill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Tx/>
              <a:buNone/>
              <a:defRPr/>
            </a:pPr>
            <a:r>
              <a:rPr lang="ru-RU" altLang="ru-RU" b="1" dirty="0" smtClean="0">
                <a:solidFill>
                  <a:schemeClr val="tx1"/>
                </a:solidFill>
              </a:rPr>
              <a:t>В рамках форума подписаны соглашения: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 smtClean="0"/>
              <a:t>О </a:t>
            </a:r>
            <a:r>
              <a:rPr lang="ru-RU" dirty="0"/>
              <a:t>сопровождении инвестиционного проекта «Строительство горно-обогатительного комбината на базе месторождения свинцово-цинковых руд «Павловское» на 35,5 млрд руб</a:t>
            </a:r>
            <a:r>
              <a:rPr lang="ru-RU" dirty="0" smtClean="0"/>
              <a:t>.;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 smtClean="0"/>
              <a:t>Дорожная карта </a:t>
            </a:r>
            <a:r>
              <a:rPr lang="ru-RU" dirty="0"/>
              <a:t>по развитию сотрудничества на 2019-2021 годы </a:t>
            </a:r>
            <a:r>
              <a:rPr lang="ru-RU" dirty="0" smtClean="0"/>
              <a:t>между </a:t>
            </a:r>
            <a:r>
              <a:rPr lang="ru-RU" dirty="0"/>
              <a:t>правительством Архангельской области и правительством </a:t>
            </a:r>
            <a:r>
              <a:rPr lang="ru-RU" dirty="0" smtClean="0"/>
              <a:t>Санкт-Петербурга;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 smtClean="0"/>
              <a:t>Соглашение </a:t>
            </a:r>
            <a:r>
              <a:rPr lang="ru-RU" dirty="0"/>
              <a:t>о сотрудничестве в области региональных и межрегиональных воздушных </a:t>
            </a:r>
            <a:r>
              <a:rPr lang="ru-RU" dirty="0" smtClean="0"/>
              <a:t>перевозок с </a:t>
            </a:r>
            <a:r>
              <a:rPr lang="ru-RU" dirty="0"/>
              <a:t>Ненецким автономным </a:t>
            </a:r>
            <a:r>
              <a:rPr lang="ru-RU" dirty="0" smtClean="0"/>
              <a:t>округом. </a:t>
            </a:r>
            <a:endParaRPr lang="ru-RU" altLang="ru-RU" sz="1450" dirty="0" smtClean="0">
              <a:solidFill>
                <a:schemeClr val="tx1"/>
              </a:solidFill>
            </a:endParaRPr>
          </a:p>
        </p:txBody>
      </p:sp>
      <p:pic>
        <p:nvPicPr>
          <p:cNvPr id="5129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950" y="1363663"/>
            <a:ext cx="3671888" cy="206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Группа 9"/>
          <p:cNvGrpSpPr/>
          <p:nvPr/>
        </p:nvGrpSpPr>
        <p:grpSpPr>
          <a:xfrm>
            <a:off x="105569" y="870623"/>
            <a:ext cx="8940800" cy="219990"/>
            <a:chOff x="101600" y="701588"/>
            <a:chExt cx="8940800" cy="21999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6948422" y="731827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5" name="TextBox 26"/>
          <p:cNvSpPr txBox="1">
            <a:spLocks noChangeArrowheads="1"/>
          </p:cNvSpPr>
          <p:nvPr/>
        </p:nvSpPr>
        <p:spPr bwMode="auto">
          <a:xfrm>
            <a:off x="144510" y="6453440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950" y="3789363"/>
            <a:ext cx="3675063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04302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11000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1F30304C-3C86-4D5F-A0DF-A853408D50C2}" type="slidenum">
              <a:rPr lang="ru-RU" altLang="ru-RU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7</a:t>
            </a:fld>
            <a:endParaRPr lang="ru-RU" altLang="ru-RU" sz="1400" smtClean="0">
              <a:solidFill>
                <a:schemeClr val="tx1"/>
              </a:solidFill>
            </a:endParaRPr>
          </a:p>
        </p:txBody>
      </p:sp>
      <p:sp>
        <p:nvSpPr>
          <p:cNvPr id="7171" name="Rectangle 207"/>
          <p:cNvSpPr>
            <a:spLocks noChangeArrowheads="1"/>
          </p:cNvSpPr>
          <p:nvPr/>
        </p:nvSpPr>
        <p:spPr bwMode="auto">
          <a:xfrm>
            <a:off x="179388" y="6381750"/>
            <a:ext cx="2520950" cy="3603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>
            <a:lvl1pPr>
              <a:spcBef>
                <a:spcPct val="20000"/>
              </a:spcBef>
              <a:buClr>
                <a:schemeClr val="hlink"/>
              </a:buClr>
              <a:buSzPct val="11000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>
              <a:solidFill>
                <a:schemeClr val="tx1"/>
              </a:solidFill>
            </a:endParaRPr>
          </a:p>
        </p:txBody>
      </p:sp>
      <p:sp>
        <p:nvSpPr>
          <p:cNvPr id="7173" name="Rectangle 16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207963"/>
            <a:ext cx="8352928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lr>
                <a:schemeClr val="hlink"/>
              </a:buClr>
              <a:buSzPct val="11000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panose="020B0604020202020204" pitchFamily="34" charset="0"/>
              <a:buChar char="►"/>
              <a:defRPr sz="1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</a:rPr>
              <a:t>Участие Архангельской области  в выставочной экспозиции  Петербургского международного экономического форума – 2019</a:t>
            </a:r>
          </a:p>
        </p:txBody>
      </p:sp>
      <p:sp>
        <p:nvSpPr>
          <p:cNvPr id="18" name="Rectangle 3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79838" y="1052513"/>
            <a:ext cx="5113337" cy="44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prstDash val="lgDash"/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110000"/>
              <a:buChar char="•"/>
              <a:defRPr sz="16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800000"/>
              </a:buClr>
              <a:buFont typeface="Arial" charset="0"/>
              <a:buChar char="►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800000"/>
              </a:buClr>
              <a:buFont typeface="Arial" charset="0"/>
              <a:buChar char="►"/>
              <a:defRPr sz="12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00"/>
              </a:buClr>
              <a:buFont typeface="Arial" charset="0"/>
              <a:buChar char="►"/>
              <a:defRPr sz="1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altLang="ru-RU" sz="1450" b="1" dirty="0" smtClean="0">
                <a:solidFill>
                  <a:schemeClr val="tx1"/>
                </a:solidFill>
              </a:rPr>
              <a:t> </a:t>
            </a:r>
            <a:r>
              <a:rPr lang="ru-RU" dirty="0" smtClean="0"/>
              <a:t>Экономический</a:t>
            </a:r>
            <a:r>
              <a:rPr lang="ru-RU" dirty="0"/>
              <a:t>, научный, культурный и туристический потенциал </a:t>
            </a:r>
            <a:r>
              <a:rPr lang="ru-RU" dirty="0" smtClean="0"/>
              <a:t>Архангельской области</a:t>
            </a:r>
            <a:endParaRPr lang="ru-RU" altLang="ru-RU" sz="1450" dirty="0" smtClean="0">
              <a:solidFill>
                <a:schemeClr val="tx1"/>
              </a:solidFill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 smtClean="0"/>
              <a:t>3</a:t>
            </a:r>
            <a:r>
              <a:rPr lang="en-US" dirty="0"/>
              <a:t>D</a:t>
            </a:r>
            <a:r>
              <a:rPr lang="ru-RU" dirty="0"/>
              <a:t>-тур </a:t>
            </a:r>
            <a:r>
              <a:rPr lang="ru-RU" dirty="0" smtClean="0"/>
              <a:t>с </a:t>
            </a:r>
            <a:r>
              <a:rPr lang="ru-RU" dirty="0"/>
              <a:t>Арктического  плавучего  </a:t>
            </a:r>
            <a:r>
              <a:rPr lang="ru-RU" dirty="0" smtClean="0"/>
              <a:t>университета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altLang="ru-RU" sz="1450" dirty="0" smtClean="0">
                <a:solidFill>
                  <a:schemeClr val="tx1"/>
                </a:solidFill>
              </a:rPr>
              <a:t> </a:t>
            </a:r>
            <a:r>
              <a:rPr lang="ru-RU" dirty="0" smtClean="0"/>
              <a:t>Ювелирные </a:t>
            </a:r>
            <a:r>
              <a:rPr lang="ru-RU" dirty="0"/>
              <a:t>изделия с северными </a:t>
            </a:r>
            <a:r>
              <a:rPr lang="ru-RU" dirty="0" smtClean="0"/>
              <a:t>бриллиантами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endParaRPr lang="ru-RU" altLang="ru-RU" sz="1000" dirty="0">
              <a:solidFill>
                <a:schemeClr val="tx1"/>
              </a:solidFill>
            </a:endParaRP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Tx/>
              <a:buNone/>
              <a:defRPr/>
            </a:pPr>
            <a:r>
              <a:rPr lang="ru-RU" altLang="ru-RU" b="1" dirty="0" smtClean="0">
                <a:solidFill>
                  <a:schemeClr val="tx1"/>
                </a:solidFill>
              </a:rPr>
              <a:t>В рамках форума подписаны соглашения: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 smtClean="0"/>
              <a:t>О сотрудничестве с Псковской областью;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/>
              <a:t>О сотрудничестве с Костромской</a:t>
            </a:r>
            <a:r>
              <a:rPr lang="ru-RU" dirty="0" smtClean="0"/>
              <a:t> </a:t>
            </a:r>
            <a:r>
              <a:rPr lang="ru-RU" dirty="0"/>
              <a:t>областью;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 smtClean="0"/>
              <a:t>Соглашение </a:t>
            </a:r>
            <a:r>
              <a:rPr lang="ru-RU" dirty="0"/>
              <a:t>о сотрудничестве с </a:t>
            </a:r>
            <a:r>
              <a:rPr lang="ru-RU" dirty="0" err="1" smtClean="0"/>
              <a:t>Поволожьем</a:t>
            </a:r>
            <a:r>
              <a:rPr lang="ru-RU" dirty="0" smtClean="0"/>
              <a:t>;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/>
              <a:t>Соглашение о сотрудничестве с Банком ВТБ</a:t>
            </a:r>
            <a:r>
              <a:rPr lang="ru-RU" dirty="0" smtClean="0"/>
              <a:t>;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Tx/>
              <a:buNone/>
              <a:defRPr/>
            </a:pPr>
            <a:endParaRPr lang="ru-RU" dirty="0" smtClean="0"/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 smtClean="0"/>
              <a:t>Обсуждались возможности </a:t>
            </a:r>
            <a:r>
              <a:rPr lang="ru-RU" dirty="0"/>
              <a:t>внедрения в Архангельской области концепции «Бережливый умный город» и создание цифровой платформы развития </a:t>
            </a:r>
            <a:r>
              <a:rPr lang="ru-RU" dirty="0" smtClean="0"/>
              <a:t>региона;</a:t>
            </a:r>
          </a:p>
          <a:p>
            <a:pPr eaLnBrk="1" hangingPunct="1">
              <a:lnSpc>
                <a:spcPct val="120000"/>
              </a:lnSpc>
              <a:spcBef>
                <a:spcPct val="0"/>
              </a:spcBef>
              <a:buClr>
                <a:srgbClr val="800000"/>
              </a:buClr>
              <a:buSzTx/>
              <a:buFont typeface="Arial" charset="0"/>
              <a:buChar char="►"/>
              <a:defRPr/>
            </a:pPr>
            <a:r>
              <a:rPr lang="ru-RU" dirty="0"/>
              <a:t>Обсуждались </a:t>
            </a:r>
            <a:r>
              <a:rPr lang="ru-RU" dirty="0" smtClean="0"/>
              <a:t>перспективы </a:t>
            </a:r>
            <a:r>
              <a:rPr lang="ru-RU" dirty="0"/>
              <a:t>реализации в Архангельской области проектов комплексной застройки территорий</a:t>
            </a:r>
            <a:endParaRPr lang="ru-RU" altLang="ru-RU" sz="1450" dirty="0" smtClean="0">
              <a:solidFill>
                <a:schemeClr val="tx1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101600" y="832746"/>
            <a:ext cx="8940800" cy="219990"/>
            <a:chOff x="101600" y="701588"/>
            <a:chExt cx="8940800" cy="219990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6948422" y="731827"/>
              <a:ext cx="2014960" cy="18975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101600" y="701588"/>
              <a:ext cx="8744664" cy="116458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97736" y="787807"/>
              <a:ext cx="8744664" cy="6474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3" name="TextBox 26"/>
          <p:cNvSpPr txBox="1">
            <a:spLocks noChangeArrowheads="1"/>
          </p:cNvSpPr>
          <p:nvPr/>
        </p:nvSpPr>
        <p:spPr bwMode="auto">
          <a:xfrm>
            <a:off x="193353" y="6381750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  <p:pic>
        <p:nvPicPr>
          <p:cNvPr id="1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0" y="1163638"/>
            <a:ext cx="3311525" cy="2344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0" y="3748088"/>
            <a:ext cx="3311525" cy="2344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597770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Box 11"/>
          <p:cNvSpPr txBox="1">
            <a:spLocks noChangeArrowheads="1"/>
          </p:cNvSpPr>
          <p:nvPr/>
        </p:nvSpPr>
        <p:spPr bwMode="auto">
          <a:xfrm>
            <a:off x="575072" y="599656"/>
            <a:ext cx="8217694" cy="563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hangingPunct="0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ы на реализацию подпрограммы № 2 «Развитие субъектов малого и среднего предпринимательства в Архангельской области»</a:t>
            </a:r>
          </a:p>
        </p:txBody>
      </p:sp>
      <p:grpSp>
        <p:nvGrpSpPr>
          <p:cNvPr id="4099" name="Группа 12"/>
          <p:cNvGrpSpPr>
            <a:grpSpLocks/>
          </p:cNvGrpSpPr>
          <p:nvPr/>
        </p:nvGrpSpPr>
        <p:grpSpPr bwMode="auto">
          <a:xfrm>
            <a:off x="0" y="1261339"/>
            <a:ext cx="9144000" cy="211931"/>
            <a:chOff x="101600" y="673598"/>
            <a:chExt cx="8940800" cy="247980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6948065" y="732110"/>
              <a:ext cx="2015172" cy="18946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101600" y="673598"/>
              <a:ext cx="8745220" cy="117024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297180" y="787836"/>
              <a:ext cx="8745220" cy="640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100" name="Диаграмма 4"/>
          <p:cNvGraphicFramePr>
            <a:graphicFrameLocks/>
          </p:cNvGraphicFramePr>
          <p:nvPr/>
        </p:nvGraphicFramePr>
        <p:xfrm>
          <a:off x="844154" y="1862138"/>
          <a:ext cx="7679531" cy="3992166"/>
        </p:xfrm>
        <a:graphic>
          <a:graphicData uri="http://schemas.openxmlformats.org/presentationml/2006/ole">
            <p:oleObj spid="_x0000_s1100" name="Диаграмма" r:id="rId4" imgW="10248264" imgH="5328366" progId="">
              <p:embed/>
            </p:oleObj>
          </a:graphicData>
        </a:graphic>
      </p:graphicFrame>
      <p:sp>
        <p:nvSpPr>
          <p:cNvPr id="4102" name="Прямоугольник 12"/>
          <p:cNvSpPr>
            <a:spLocks noChangeArrowheads="1"/>
          </p:cNvSpPr>
          <p:nvPr/>
        </p:nvSpPr>
        <p:spPr bwMode="auto">
          <a:xfrm>
            <a:off x="3012282" y="4205288"/>
            <a:ext cx="100250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prstClr val="black"/>
                </a:solidFill>
              </a:rPr>
              <a:t>52,5 млн. руб.</a:t>
            </a:r>
          </a:p>
        </p:txBody>
      </p:sp>
      <p:sp>
        <p:nvSpPr>
          <p:cNvPr id="4103" name="Прямоугольник 19"/>
          <p:cNvSpPr>
            <a:spLocks noChangeArrowheads="1"/>
          </p:cNvSpPr>
          <p:nvPr/>
        </p:nvSpPr>
        <p:spPr bwMode="auto">
          <a:xfrm>
            <a:off x="7636669" y="3970735"/>
            <a:ext cx="100250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prstClr val="black"/>
                </a:solidFill>
              </a:rPr>
              <a:t>179,8 млн. руб.</a:t>
            </a:r>
          </a:p>
        </p:txBody>
      </p:sp>
      <p:sp>
        <p:nvSpPr>
          <p:cNvPr id="4104" name="Прямоугольник 20"/>
          <p:cNvSpPr>
            <a:spLocks noChangeArrowheads="1"/>
          </p:cNvSpPr>
          <p:nvPr/>
        </p:nvSpPr>
        <p:spPr bwMode="auto">
          <a:xfrm>
            <a:off x="3012282" y="4455319"/>
            <a:ext cx="100250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prstClr val="black"/>
                </a:solidFill>
              </a:rPr>
              <a:t>62,6 млн. руб.</a:t>
            </a:r>
          </a:p>
        </p:txBody>
      </p:sp>
      <p:sp>
        <p:nvSpPr>
          <p:cNvPr id="4105" name="Прямоугольник 21"/>
          <p:cNvSpPr>
            <a:spLocks noChangeArrowheads="1"/>
          </p:cNvSpPr>
          <p:nvPr/>
        </p:nvSpPr>
        <p:spPr bwMode="auto">
          <a:xfrm>
            <a:off x="5297092" y="3008710"/>
            <a:ext cx="100250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prstClr val="black"/>
                </a:solidFill>
              </a:rPr>
              <a:t>465,0 млн. руб.</a:t>
            </a:r>
          </a:p>
        </p:txBody>
      </p:sp>
      <p:sp>
        <p:nvSpPr>
          <p:cNvPr id="4106" name="Прямоугольник 22"/>
          <p:cNvSpPr>
            <a:spLocks noChangeArrowheads="1"/>
          </p:cNvSpPr>
          <p:nvPr/>
        </p:nvSpPr>
        <p:spPr bwMode="auto">
          <a:xfrm>
            <a:off x="5308998" y="4412456"/>
            <a:ext cx="100250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prstClr val="black"/>
                </a:solidFill>
              </a:rPr>
              <a:t>90,5 млн. руб.</a:t>
            </a:r>
          </a:p>
        </p:txBody>
      </p:sp>
      <p:sp>
        <p:nvSpPr>
          <p:cNvPr id="4107" name="Прямоугольник 23"/>
          <p:cNvSpPr>
            <a:spLocks noChangeArrowheads="1"/>
          </p:cNvSpPr>
          <p:nvPr/>
        </p:nvSpPr>
        <p:spPr bwMode="auto">
          <a:xfrm>
            <a:off x="7605713" y="4413647"/>
            <a:ext cx="100131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prstClr val="black"/>
                </a:solidFill>
              </a:rPr>
              <a:t>94,3 млн. руб.</a:t>
            </a:r>
          </a:p>
        </p:txBody>
      </p:sp>
    </p:spTree>
    <p:extLst>
      <p:ext uri="{BB962C8B-B14F-4D97-AF65-F5344CB8AC3E}">
        <p14:creationId xmlns:p14="http://schemas.microsoft.com/office/powerpoint/2010/main" xmlns="" val="22582518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0696" y="1247353"/>
            <a:ext cx="8834438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46497" y="619136"/>
            <a:ext cx="8345983" cy="563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lnSpc>
                <a:spcPct val="85000"/>
              </a:lnSpc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ый проект «Малое и среднее предпринимательство и поддержка индивидуальной предпринимательской инициативы»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546497" y="2451498"/>
            <a:ext cx="5500688" cy="107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513160" y="4320779"/>
            <a:ext cx="5517356" cy="23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V="1">
            <a:off x="529829" y="3245644"/>
            <a:ext cx="5517356" cy="23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 flipH="1">
            <a:off x="1140619" y="1928813"/>
            <a:ext cx="2381" cy="3599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5784" y="1928881"/>
            <a:ext cx="2649350" cy="37139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b="1" dirty="0">
                <a:solidFill>
                  <a:prstClr val="black"/>
                </a:solidFill>
              </a:rPr>
              <a:t>Объем государственной поддержки в 2019 </a:t>
            </a:r>
            <a:r>
              <a:rPr lang="ru-RU" b="1" dirty="0" smtClean="0">
                <a:solidFill>
                  <a:prstClr val="black"/>
                </a:solidFill>
              </a:rPr>
              <a:t>году, </a:t>
            </a:r>
            <a:r>
              <a:rPr lang="ru-RU" b="1" dirty="0">
                <a:solidFill>
                  <a:prstClr val="black"/>
                </a:solidFill>
              </a:rPr>
              <a:t>выделенной минэкономразвития Архангельской области</a:t>
            </a:r>
          </a:p>
          <a:p>
            <a:pPr algn="ctr" eaLnBrk="0" hangingPunct="0">
              <a:defRPr/>
            </a:pP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431756" y="4567238"/>
            <a:ext cx="1320404" cy="734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b="1" dirty="0">
                <a:solidFill>
                  <a:prstClr val="black"/>
                </a:solidFill>
              </a:rPr>
              <a:t>ФБ</a:t>
            </a:r>
            <a:r>
              <a:rPr lang="ru-RU" dirty="0">
                <a:solidFill>
                  <a:srgbClr val="FF0000"/>
                </a:solidFill>
              </a:rPr>
              <a:t> </a:t>
            </a:r>
          </a:p>
          <a:p>
            <a:pPr algn="ctr" eaLnBrk="0" hangingPunct="0">
              <a:defRPr/>
            </a:pPr>
            <a:r>
              <a:rPr lang="ru-RU" b="1" dirty="0">
                <a:solidFill>
                  <a:srgbClr val="FF0000"/>
                </a:solidFill>
              </a:rPr>
              <a:t>465,0</a:t>
            </a:r>
            <a:r>
              <a:rPr lang="ru-RU" dirty="0">
                <a:solidFill>
                  <a:srgbClr val="FF0000"/>
                </a:solidFill>
              </a:rPr>
              <a:t> </a:t>
            </a:r>
          </a:p>
          <a:p>
            <a:pPr algn="ctr" eaLnBrk="0" hangingPunct="0">
              <a:defRPr/>
            </a:pPr>
            <a:r>
              <a:rPr lang="ru-RU" b="1" dirty="0">
                <a:solidFill>
                  <a:srgbClr val="FF0000"/>
                </a:solidFill>
              </a:rPr>
              <a:t>млн руб.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7706916" y="4567238"/>
            <a:ext cx="1282303" cy="734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b="1" dirty="0">
                <a:solidFill>
                  <a:prstClr val="black"/>
                </a:solidFill>
              </a:rPr>
              <a:t>ОБ</a:t>
            </a:r>
          </a:p>
          <a:p>
            <a:pPr algn="ctr" eaLnBrk="0" hangingPunct="0">
              <a:defRPr/>
            </a:pPr>
            <a:r>
              <a:rPr lang="ru-RU" b="1" dirty="0">
                <a:solidFill>
                  <a:srgbClr val="FF0000"/>
                </a:solidFill>
              </a:rPr>
              <a:t>64,8 </a:t>
            </a:r>
          </a:p>
          <a:p>
            <a:pPr algn="ctr" eaLnBrk="0" hangingPunct="0">
              <a:defRPr/>
            </a:pPr>
            <a:r>
              <a:rPr lang="ru-RU" b="1" dirty="0">
                <a:solidFill>
                  <a:srgbClr val="FF0000"/>
                </a:solidFill>
              </a:rPr>
              <a:t>млн руб.</a:t>
            </a: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66974" y="2019585"/>
            <a:ext cx="754523" cy="968267"/>
          </a:xfrm>
          <a:prstGeom prst="rect">
            <a:avLst/>
          </a:prstGeom>
          <a:noFill/>
        </p:spPr>
      </p:pic>
      <p:sp>
        <p:nvSpPr>
          <p:cNvPr id="6159" name="TextBox 53"/>
          <p:cNvSpPr txBox="1">
            <a:spLocks noChangeArrowheads="1"/>
          </p:cNvSpPr>
          <p:nvPr/>
        </p:nvSpPr>
        <p:spPr bwMode="auto">
          <a:xfrm>
            <a:off x="1140619" y="1853803"/>
            <a:ext cx="517683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 b="1">
                <a:solidFill>
                  <a:prstClr val="black"/>
                </a:solidFill>
              </a:rPr>
              <a:t>В соответствии с федеральными проектами национального проекта разработаны паспорта региональных проектов:</a:t>
            </a:r>
          </a:p>
        </p:txBody>
      </p:sp>
      <p:pic>
        <p:nvPicPr>
          <p:cNvPr id="6160" name="Рисунок 5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9829" y="2503885"/>
            <a:ext cx="600075" cy="565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61" name="TextBox 55"/>
          <p:cNvSpPr txBox="1">
            <a:spLocks noChangeArrowheads="1"/>
          </p:cNvSpPr>
          <p:nvPr/>
        </p:nvSpPr>
        <p:spPr bwMode="auto">
          <a:xfrm>
            <a:off x="1140619" y="2552700"/>
            <a:ext cx="517921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Акселерация субъектов малого и среднего предпринимательства в Архангельской области</a:t>
            </a:r>
          </a:p>
        </p:txBody>
      </p:sp>
      <p:sp>
        <p:nvSpPr>
          <p:cNvPr id="6162" name="TextBox 56"/>
          <p:cNvSpPr txBox="1">
            <a:spLocks noChangeArrowheads="1"/>
          </p:cNvSpPr>
          <p:nvPr/>
        </p:nvSpPr>
        <p:spPr bwMode="auto">
          <a:xfrm>
            <a:off x="1321594" y="3508773"/>
            <a:ext cx="517921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Популяризация предпринимательства в Архангельской области</a:t>
            </a:r>
          </a:p>
        </p:txBody>
      </p:sp>
      <p:sp>
        <p:nvSpPr>
          <p:cNvPr id="6163" name="TextBox 57"/>
          <p:cNvSpPr txBox="1">
            <a:spLocks noChangeArrowheads="1"/>
          </p:cNvSpPr>
          <p:nvPr/>
        </p:nvSpPr>
        <p:spPr bwMode="auto">
          <a:xfrm>
            <a:off x="1321594" y="4550569"/>
            <a:ext cx="5235179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Расширение доступа субъектов МСП к финансовым 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ресурсам, в том числе к льготному финансированию 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prstClr val="black"/>
                </a:solidFill>
              </a:rPr>
              <a:t>в Архангельской области</a:t>
            </a: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V="1">
            <a:off x="529828" y="5518548"/>
            <a:ext cx="5500688" cy="59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65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5541" y="4657725"/>
            <a:ext cx="586978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66" name="Рисунок 6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8637" y="3513535"/>
            <a:ext cx="558404" cy="546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67" name="TextBox 26"/>
          <p:cNvSpPr txBox="1">
            <a:spLocks noChangeArrowheads="1"/>
          </p:cNvSpPr>
          <p:nvPr/>
        </p:nvSpPr>
        <p:spPr bwMode="auto">
          <a:xfrm>
            <a:off x="170260" y="5806678"/>
            <a:ext cx="5162550" cy="21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экономического развития Архангель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xmlns="" val="3641785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hVdvvYDUG26AmI5AUK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xEHUJ2zE6LEnmDUnXS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umYhWkKk.4TOzAPAUZ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xEHUJ2zE6LEnmDUnXS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umYhWkKk.4TOzAPAUZnQ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0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5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6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7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8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9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20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2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8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9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05</TotalTime>
  <Words>2439</Words>
  <Application>Microsoft Office PowerPoint</Application>
  <PresentationFormat>Экран (4:3)</PresentationFormat>
  <Paragraphs>571</Paragraphs>
  <Slides>30</Slides>
  <Notes>14</Notes>
  <HiddenSlides>0</HiddenSlides>
  <MMClips>0</MMClips>
  <ScaleCrop>false</ScaleCrop>
  <HeadingPairs>
    <vt:vector size="6" baseType="variant">
      <vt:variant>
        <vt:lpstr>Тема</vt:lpstr>
      </vt:variant>
      <vt:variant>
        <vt:i4>2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53" baseType="lpstr">
      <vt:lpstr>Тема Office</vt:lpstr>
      <vt:lpstr>3_Тема Office</vt:lpstr>
      <vt:lpstr>2_Тема Office</vt:lpstr>
      <vt:lpstr>4_Тема Office</vt:lpstr>
      <vt:lpstr>5_Тема Office</vt:lpstr>
      <vt:lpstr>6_Тема Office</vt:lpstr>
      <vt:lpstr>7_Тема Office</vt:lpstr>
      <vt:lpstr>8_Тема Office</vt:lpstr>
      <vt:lpstr>9_Тема Office</vt:lpstr>
      <vt:lpstr>10_Тема Office</vt:lpstr>
      <vt:lpstr>11_Тема Office</vt:lpstr>
      <vt:lpstr>12_Тема Office</vt:lpstr>
      <vt:lpstr>13_Тема Office</vt:lpstr>
      <vt:lpstr>14_Тема Office</vt:lpstr>
      <vt:lpstr>15_Тема Office</vt:lpstr>
      <vt:lpstr>16_Тема Office</vt:lpstr>
      <vt:lpstr>17_Тема Office</vt:lpstr>
      <vt:lpstr>18_Тема Office</vt:lpstr>
      <vt:lpstr>19_Тема Office</vt:lpstr>
      <vt:lpstr>20_Тема Office</vt:lpstr>
      <vt:lpstr>1_Тема Office</vt:lpstr>
      <vt:lpstr>23_Тема Office</vt:lpstr>
      <vt:lpstr>Диаграмма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Поручительства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ёт об исполнении областного бюджета  за 2012 год  2 апреля 2013 г.</dc:title>
  <dc:creator>lomteva</dc:creator>
  <cp:lastModifiedBy>Трусов Андрей Викторович</cp:lastModifiedBy>
  <cp:revision>1841</cp:revision>
  <cp:lastPrinted>2020-03-20T08:45:54Z</cp:lastPrinted>
  <dcterms:created xsi:type="dcterms:W3CDTF">2013-03-31T10:10:36Z</dcterms:created>
  <dcterms:modified xsi:type="dcterms:W3CDTF">2020-06-23T06:54:36Z</dcterms:modified>
</cp:coreProperties>
</file>